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0" r:id="rId1"/>
    <p:sldMasterId id="2147484048" r:id="rId2"/>
    <p:sldMasterId id="2147484078" r:id="rId3"/>
    <p:sldMasterId id="2147484096" r:id="rId4"/>
  </p:sldMasterIdLst>
  <p:notesMasterIdLst>
    <p:notesMasterId r:id="rId15"/>
  </p:notesMasterIdLst>
  <p:sldIdLst>
    <p:sldId id="838841455" r:id="rId5"/>
    <p:sldId id="2219" r:id="rId6"/>
    <p:sldId id="838841481" r:id="rId7"/>
    <p:sldId id="838841482" r:id="rId8"/>
    <p:sldId id="2345" r:id="rId9"/>
    <p:sldId id="838841485" r:id="rId10"/>
    <p:sldId id="401" r:id="rId11"/>
    <p:sldId id="2997" r:id="rId12"/>
    <p:sldId id="838841483" r:id="rId13"/>
    <p:sldId id="331" r:id="rId14"/>
  </p:sldIdLst>
  <p:sldSz cx="9144000" cy="5143500" type="screen16x9"/>
  <p:notesSz cx="6858000" cy="9144000"/>
  <p:defaultTextStyle>
    <a:defPPr>
      <a:defRPr lang="en-US"/>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989">
          <p15:clr>
            <a:srgbClr val="A4A3A4"/>
          </p15:clr>
        </p15:guide>
        <p15:guide id="2" orient="horz" pos="110">
          <p15:clr>
            <a:srgbClr val="A4A3A4"/>
          </p15:clr>
        </p15:guide>
        <p15:guide id="3" orient="horz" pos="466">
          <p15:clr>
            <a:srgbClr val="A4A3A4"/>
          </p15:clr>
        </p15:guide>
        <p15:guide id="4" orient="horz" pos="834">
          <p15:clr>
            <a:srgbClr val="A4A3A4"/>
          </p15:clr>
        </p15:guide>
        <p15:guide id="5" orient="horz" pos="1552">
          <p15:clr>
            <a:srgbClr val="A4A3A4"/>
          </p15:clr>
        </p15:guide>
        <p15:guide id="6" orient="horz" pos="2126">
          <p15:clr>
            <a:srgbClr val="A4A3A4"/>
          </p15:clr>
        </p15:guide>
        <p15:guide id="7" orient="horz" pos="2262">
          <p15:clr>
            <a:srgbClr val="A4A3A4"/>
          </p15:clr>
        </p15:guide>
        <p15:guide id="8" orient="horz" pos="2616">
          <p15:clr>
            <a:srgbClr val="A4A3A4"/>
          </p15:clr>
        </p15:guide>
        <p15:guide id="9" pos="5562">
          <p15:clr>
            <a:srgbClr val="A4A3A4"/>
          </p15:clr>
        </p15:guide>
        <p15:guide id="10" pos="98">
          <p15:clr>
            <a:srgbClr val="A4A3A4"/>
          </p15:clr>
        </p15:guide>
        <p15:guide id="11" pos="5183">
          <p15:clr>
            <a:srgbClr val="A4A3A4"/>
          </p15:clr>
        </p15:guide>
        <p15:guide id="12" pos="496">
          <p15:clr>
            <a:srgbClr val="A4A3A4"/>
          </p15:clr>
        </p15:guide>
        <p15:guide id="13" pos="903">
          <p15:clr>
            <a:srgbClr val="A4A3A4"/>
          </p15:clr>
        </p15:guide>
        <p15:guide id="14" pos="1305">
          <p15:clr>
            <a:srgbClr val="A4A3A4"/>
          </p15:clr>
        </p15:guide>
        <p15:guide id="15" pos="1698">
          <p15:clr>
            <a:srgbClr val="A4A3A4"/>
          </p15:clr>
        </p15:guide>
        <p15:guide id="16" pos="2082">
          <p15:clr>
            <a:srgbClr val="A4A3A4"/>
          </p15:clr>
        </p15:guide>
        <p15:guide id="17" pos="2466">
          <p15:clr>
            <a:srgbClr val="A4A3A4"/>
          </p15:clr>
        </p15:guide>
        <p15:guide id="18" pos="2849">
          <p15:clr>
            <a:srgbClr val="A4A3A4"/>
          </p15:clr>
        </p15:guide>
        <p15:guide id="19" pos="3237">
          <p15:clr>
            <a:srgbClr val="A4A3A4"/>
          </p15:clr>
        </p15:guide>
        <p15:guide id="20" pos="3621">
          <p15:clr>
            <a:srgbClr val="A4A3A4"/>
          </p15:clr>
        </p15:guide>
        <p15:guide id="21" pos="4014">
          <p15:clr>
            <a:srgbClr val="A4A3A4"/>
          </p15:clr>
        </p15:guide>
        <p15:guide id="22" pos="4411">
          <p15:clr>
            <a:srgbClr val="A4A3A4"/>
          </p15:clr>
        </p15:guide>
        <p15:guide id="23" pos="480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B7ACA4-938A-4002-BA16-B771B1DDADF6}" v="19" dt="2020-09-10T01:26:25.7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84" autoAdjust="0"/>
    <p:restoredTop sz="91258" autoAdjust="0"/>
  </p:normalViewPr>
  <p:slideViewPr>
    <p:cSldViewPr snapToGrid="0">
      <p:cViewPr varScale="1">
        <p:scale>
          <a:sx n="98" d="100"/>
          <a:sy n="98" d="100"/>
        </p:scale>
        <p:origin x="324" y="60"/>
      </p:cViewPr>
      <p:guideLst>
        <p:guide orient="horz" pos="2989"/>
        <p:guide orient="horz" pos="110"/>
        <p:guide orient="horz" pos="466"/>
        <p:guide orient="horz" pos="834"/>
        <p:guide orient="horz" pos="1552"/>
        <p:guide orient="horz" pos="2126"/>
        <p:guide orient="horz" pos="2262"/>
        <p:guide orient="horz" pos="2616"/>
        <p:guide pos="5562"/>
        <p:guide pos="98"/>
        <p:guide pos="5183"/>
        <p:guide pos="496"/>
        <p:guide pos="903"/>
        <p:guide pos="1305"/>
        <p:guide pos="1698"/>
        <p:guide pos="2082"/>
        <p:guide pos="2466"/>
        <p:guide pos="2849"/>
        <p:guide pos="3237"/>
        <p:guide pos="3621"/>
        <p:guide pos="4014"/>
        <p:guide pos="4411"/>
        <p:guide pos="4809"/>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defRPr>
            </a:lvl1pPr>
          </a:lstStyle>
          <a:p>
            <a:fld id="{F0EC178B-6532-D741-BB1D-C6F2E2FEBF52}" type="datetimeFigureOut">
              <a:rPr lang="en-US" smtClean="0"/>
              <a:pPr/>
              <a:t>12/2/202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defRPr>
            </a:lvl1pPr>
          </a:lstStyle>
          <a:p>
            <a:fld id="{AA759650-762C-9343-8990-0901C80FC791}" type="slidenum">
              <a:rPr lang="en-US" smtClean="0"/>
              <a:pPr/>
              <a:t>‹#›</a:t>
            </a:fld>
            <a:endParaRPr lang="en-US" dirty="0"/>
          </a:p>
        </p:txBody>
      </p:sp>
    </p:spTree>
    <p:extLst>
      <p:ext uri="{BB962C8B-B14F-4D97-AF65-F5344CB8AC3E}">
        <p14:creationId xmlns:p14="http://schemas.microsoft.com/office/powerpoint/2010/main" val="142793757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9650-762C-9343-8990-0901C80FC7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075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Arial" panose="020B0604020202020204" pitchFamily="34" charset="0"/>
              </a:rPr>
              <a:t>[CLICK TO NEXT SLIDE]</a:t>
            </a:r>
            <a:endParaRPr lang="en-US" sz="1200" b="1" dirty="0">
              <a:latin typeface="+mn-lt"/>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AA759650-762C-9343-8990-0901C80FC791}" type="slidenum">
              <a:rPr lang="en-US" smtClean="0"/>
              <a:pPr/>
              <a:t>2</a:t>
            </a:fld>
            <a:endParaRPr lang="en-US"/>
          </a:p>
        </p:txBody>
      </p:sp>
    </p:spTree>
    <p:extLst>
      <p:ext uri="{BB962C8B-B14F-4D97-AF65-F5344CB8AC3E}">
        <p14:creationId xmlns:p14="http://schemas.microsoft.com/office/powerpoint/2010/main" val="4238018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GB" dirty="0"/>
              <a:t>So there needs to be a new approach. </a:t>
            </a:r>
          </a:p>
          <a:p>
            <a:pPr defTabSz="464149">
              <a:defRPr/>
            </a:pPr>
            <a:endParaRPr lang="en-GB" dirty="0"/>
          </a:p>
          <a:p>
            <a:pPr defTabSz="464149">
              <a:defRPr/>
            </a:pPr>
            <a:r>
              <a:rPr lang="en-GB" dirty="0"/>
              <a:t>Today’s threats are outpacing traditional risk management measures. In the old model, you can be right most of the time but adversaries only need to be right once to breach your defences. </a:t>
            </a:r>
          </a:p>
          <a:p>
            <a:pPr defTabSz="464149">
              <a:defRPr/>
            </a:pPr>
            <a:endParaRPr lang="en-GB" dirty="0"/>
          </a:p>
          <a:p>
            <a:pPr defTabSz="464149">
              <a:defRPr/>
            </a:pPr>
            <a:r>
              <a:rPr lang="en-GB" dirty="0"/>
              <a:t>On the other hand, you only need to detect them once to identify their activities and perform a course of action to mitigate their attempts. </a:t>
            </a:r>
          </a:p>
          <a:p>
            <a:pPr defTabSz="464149">
              <a:defRPr/>
            </a:pPr>
            <a:endParaRPr lang="en-GB" dirty="0"/>
          </a:p>
          <a:p>
            <a:pPr defTabSz="464149">
              <a:defRPr/>
            </a:pPr>
            <a:r>
              <a:rPr lang="en-GB" dirty="0"/>
              <a:t>Predictive threat intelligence is all about a proactive and predictive model to identify threats early on, before it is materially realised, minimising impact and reducing risk exposure. </a:t>
            </a:r>
          </a:p>
          <a:p>
            <a:pPr defTabSz="464149">
              <a:defRPr/>
            </a:pPr>
            <a:endParaRPr lang="en-GB" dirty="0"/>
          </a:p>
          <a:p>
            <a:pPr defTabSz="464149">
              <a:defRPr/>
            </a:pPr>
            <a:r>
              <a:rPr lang="en-GB" dirty="0"/>
              <a:t>Clients are seeking our assistance to accelerate their security capabilities and maturity using an intelligence-led approach. They simply can no longer afford to respond after the fact, and choose to take a preventative stance.</a:t>
            </a:r>
          </a:p>
        </p:txBody>
      </p:sp>
      <p:sp>
        <p:nvSpPr>
          <p:cNvPr id="4" name="Slide Number Placeholder 3"/>
          <p:cNvSpPr>
            <a:spLocks noGrp="1"/>
          </p:cNvSpPr>
          <p:nvPr>
            <p:ph type="sldNum" sz="quarter" idx="10"/>
          </p:nvPr>
        </p:nvSpPr>
        <p:spPr/>
        <p:txBody>
          <a:bodyPr/>
          <a:lstStyle/>
          <a:p>
            <a:fld id="{AA759650-762C-9343-8990-0901C80FC791}" type="slidenum">
              <a:rPr lang="en-US" smtClean="0"/>
              <a:pPr/>
              <a:t>5</a:t>
            </a:fld>
            <a:endParaRPr lang="en-US"/>
          </a:p>
        </p:txBody>
      </p:sp>
    </p:spTree>
    <p:extLst>
      <p:ext uri="{BB962C8B-B14F-4D97-AF65-F5344CB8AC3E}">
        <p14:creationId xmlns:p14="http://schemas.microsoft.com/office/powerpoint/2010/main" val="3114599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GB" dirty="0"/>
              <a:t>So there needs to be a new approach. </a:t>
            </a:r>
          </a:p>
          <a:p>
            <a:pPr defTabSz="464149">
              <a:defRPr/>
            </a:pPr>
            <a:endParaRPr lang="en-GB" dirty="0"/>
          </a:p>
          <a:p>
            <a:pPr defTabSz="464149">
              <a:defRPr/>
            </a:pPr>
            <a:r>
              <a:rPr lang="en-GB" dirty="0"/>
              <a:t>Today’s threats are outpacing traditional risk management measures. In the old model, you can be right most of the time but adversaries only need to be right once to breach your defences. </a:t>
            </a:r>
          </a:p>
          <a:p>
            <a:pPr defTabSz="464149">
              <a:defRPr/>
            </a:pPr>
            <a:endParaRPr lang="en-GB" dirty="0"/>
          </a:p>
          <a:p>
            <a:pPr defTabSz="464149">
              <a:defRPr/>
            </a:pPr>
            <a:r>
              <a:rPr lang="en-GB" dirty="0"/>
              <a:t>On the other hand, you only need to detect them once to identify their activities and perform a course of action to mitigate their attempts. </a:t>
            </a:r>
          </a:p>
          <a:p>
            <a:pPr defTabSz="464149">
              <a:defRPr/>
            </a:pPr>
            <a:endParaRPr lang="en-GB" dirty="0"/>
          </a:p>
          <a:p>
            <a:pPr defTabSz="464149">
              <a:defRPr/>
            </a:pPr>
            <a:r>
              <a:rPr lang="en-GB" dirty="0"/>
              <a:t>Predictive threat intelligence is all about a proactive and predictive model to identify threats early on, before it is materially realised, minimising impact and reducing risk exposure. </a:t>
            </a:r>
          </a:p>
          <a:p>
            <a:pPr defTabSz="464149">
              <a:defRPr/>
            </a:pPr>
            <a:endParaRPr lang="en-GB" dirty="0"/>
          </a:p>
          <a:p>
            <a:pPr defTabSz="464149">
              <a:defRPr/>
            </a:pPr>
            <a:r>
              <a:rPr lang="en-GB" dirty="0"/>
              <a:t>Clients are seeking our assistance to accelerate their security capabilities and maturity using an intelligence-led approach. They simply can no longer afford to respond after the fact, and choose to take a preventative stance.</a:t>
            </a:r>
          </a:p>
        </p:txBody>
      </p:sp>
      <p:sp>
        <p:nvSpPr>
          <p:cNvPr id="4" name="Slide Number Placeholder 3"/>
          <p:cNvSpPr>
            <a:spLocks noGrp="1"/>
          </p:cNvSpPr>
          <p:nvPr>
            <p:ph type="sldNum" sz="quarter" idx="10"/>
          </p:nvPr>
        </p:nvSpPr>
        <p:spPr/>
        <p:txBody>
          <a:bodyPr/>
          <a:lstStyle/>
          <a:p>
            <a:fld id="{AA759650-762C-9343-8990-0901C80FC791}" type="slidenum">
              <a:rPr lang="en-US" smtClean="0"/>
              <a:pPr/>
              <a:t>6</a:t>
            </a:fld>
            <a:endParaRPr lang="en-US"/>
          </a:p>
        </p:txBody>
      </p:sp>
    </p:spTree>
    <p:extLst>
      <p:ext uri="{BB962C8B-B14F-4D97-AF65-F5344CB8AC3E}">
        <p14:creationId xmlns:p14="http://schemas.microsoft.com/office/powerpoint/2010/main" val="338061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kern="0">
                <a:solidFill>
                  <a:schemeClr val="tx1">
                    <a:lumMod val="50000"/>
                  </a:schemeClr>
                </a:solidFill>
              </a:rPr>
              <a:t>Key Takeaway</a:t>
            </a:r>
            <a:r>
              <a:rPr lang="en-US" kern="0">
                <a:solidFill>
                  <a:schemeClr val="tx1">
                    <a:lumMod val="50000"/>
                  </a:schemeClr>
                </a:solidFill>
              </a:rPr>
              <a:t>: Organization leaders can help set the tone </a:t>
            </a:r>
            <a:r>
              <a:rPr lang="en-US" sz="1200">
                <a:gradFill>
                  <a:gsLst>
                    <a:gs pos="0">
                      <a:srgbClr val="FFFFFF"/>
                    </a:gs>
                    <a:gs pos="100000">
                      <a:srgbClr val="FFFFFF"/>
                    </a:gs>
                  </a:gsLst>
                  <a:lin ang="5400000" scaled="0"/>
                </a:gradFill>
                <a:ea typeface="Segoe UI" pitchFamily="34" charset="0"/>
                <a:cs typeface="Segoe UI" pitchFamily="34" charset="0"/>
              </a:rPr>
              <a:t>that security is about business risk management and is not a technical problem that can be ‘solved’</a:t>
            </a:r>
          </a:p>
          <a:p>
            <a:pPr>
              <a:spcAft>
                <a:spcPts val="600"/>
              </a:spcAft>
            </a:pPr>
            <a:endParaRPr lang="en-US" b="1">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solidFill>
                  <a:schemeClr val="bg1"/>
                </a:solidFill>
              </a:rPr>
              <a:t>With the adoption of cloud technology, Information Technology is assuming failure and shifting from a reliability mindset (reduce </a:t>
            </a:r>
            <a:r>
              <a:rPr lang="en-US" sz="1100" kern="1200">
                <a:solidFill>
                  <a:schemeClr val="tx1"/>
                </a:solidFill>
                <a:effectLst/>
                <a:latin typeface="+mn-lt"/>
                <a:ea typeface="+mn-ea"/>
                <a:cs typeface="+mn-cs"/>
              </a:rPr>
              <a:t>mean-time-between-failures (MTBF</a:t>
            </a:r>
            <a:r>
              <a:rPr lang="en-US">
                <a:solidFill>
                  <a:schemeClr val="bg1"/>
                </a:solidFill>
              </a:rPr>
              <a:t>)) to a resilient mindset (reduce </a:t>
            </a:r>
            <a:r>
              <a:rPr lang="en-US" sz="1100" kern="1200">
                <a:solidFill>
                  <a:schemeClr val="tx1"/>
                </a:solidFill>
                <a:effectLst/>
                <a:latin typeface="+mn-lt"/>
                <a:ea typeface="+mn-ea"/>
                <a:cs typeface="+mn-cs"/>
              </a:rPr>
              <a:t>mean-time-to-recover (MTTR</a:t>
            </a:r>
            <a:r>
              <a:rPr lang="en-US">
                <a:solidFill>
                  <a:schemeClr val="bg1"/>
                </a:solidFill>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r>
              <a:rPr lang="en-US" sz="1100" kern="1200">
                <a:solidFill>
                  <a:schemeClr val="tx1"/>
                </a:solidFill>
                <a:effectLst/>
                <a:latin typeface="+mn-lt"/>
                <a:ea typeface="+mn-ea"/>
                <a:cs typeface="+mn-cs"/>
              </a:rPr>
              <a:t>To this end, a  resilient cloud service:</a:t>
            </a:r>
          </a:p>
          <a:p>
            <a:pPr lvl="0"/>
            <a:r>
              <a:rPr lang="en-US" sz="1100" b="1" kern="1200">
                <a:solidFill>
                  <a:schemeClr val="tx1"/>
                </a:solidFill>
                <a:effectLst/>
                <a:latin typeface="+mn-lt"/>
                <a:ea typeface="+mn-ea"/>
                <a:cs typeface="+mn-cs"/>
              </a:rPr>
              <a:t>- minimizes the impact </a:t>
            </a:r>
            <a:r>
              <a:rPr lang="en-US" sz="1100" kern="1200">
                <a:solidFill>
                  <a:schemeClr val="tx1"/>
                </a:solidFill>
                <a:effectLst/>
                <a:latin typeface="+mn-lt"/>
                <a:ea typeface="+mn-ea"/>
                <a:cs typeface="+mn-cs"/>
              </a:rPr>
              <a:t>of failure on any given customer,</a:t>
            </a:r>
          </a:p>
          <a:p>
            <a:pPr lvl="0"/>
            <a:r>
              <a:rPr lang="en-US" sz="1100" b="1" kern="1200">
                <a:solidFill>
                  <a:schemeClr val="tx1"/>
                </a:solidFill>
                <a:effectLst/>
                <a:latin typeface="+mn-lt"/>
                <a:ea typeface="+mn-ea"/>
                <a:cs typeface="+mn-cs"/>
              </a:rPr>
              <a:t>- minimizes the number </a:t>
            </a:r>
            <a:r>
              <a:rPr lang="en-US" sz="1100" kern="1200">
                <a:solidFill>
                  <a:schemeClr val="tx1"/>
                </a:solidFill>
                <a:effectLst/>
                <a:latin typeface="+mn-lt"/>
                <a:ea typeface="+mn-ea"/>
                <a:cs typeface="+mn-cs"/>
              </a:rPr>
              <a:t>of customers affected by a failure</a:t>
            </a:r>
          </a:p>
          <a:p>
            <a:pPr lvl="0"/>
            <a:r>
              <a:rPr lang="en-US" sz="1100" b="1" kern="1200">
                <a:solidFill>
                  <a:schemeClr val="tx1"/>
                </a:solidFill>
                <a:effectLst/>
                <a:latin typeface="+mn-lt"/>
                <a:ea typeface="+mn-ea"/>
                <a:cs typeface="+mn-cs"/>
              </a:rPr>
              <a:t>- reduces the amount of time </a:t>
            </a:r>
            <a:r>
              <a:rPr lang="en-US" sz="1100" kern="1200">
                <a:solidFill>
                  <a:schemeClr val="tx1"/>
                </a:solidFill>
                <a:effectLst/>
                <a:latin typeface="+mn-lt"/>
                <a:ea typeface="+mn-ea"/>
                <a:cs typeface="+mn-cs"/>
              </a:rPr>
              <a:t>customers are prevented from using the service in its entirety.</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pPr>
              <a:spcAft>
                <a:spcPts val="600"/>
              </a:spcAft>
            </a:pPr>
            <a:r>
              <a:rPr lang="en-US" b="1">
                <a:solidFill>
                  <a:schemeClr val="bg1"/>
                </a:solidFill>
              </a:rPr>
              <a:t>CLICK 1</a:t>
            </a:r>
          </a:p>
          <a:p>
            <a:pPr>
              <a:spcAft>
                <a:spcPts val="600"/>
              </a:spcAft>
            </a:pPr>
            <a:endParaRPr lang="en-US">
              <a:solidFill>
                <a:schemeClr val="bg1"/>
              </a:solidFill>
            </a:endParaRPr>
          </a:p>
          <a:p>
            <a:pPr>
              <a:spcAft>
                <a:spcPts val="600"/>
              </a:spcAft>
            </a:pPr>
            <a:r>
              <a:rPr lang="en-US">
                <a:solidFill>
                  <a:schemeClr val="bg1"/>
                </a:solidFill>
              </a:rPr>
              <a:t>Security should adopt a similar posture in the age of continuous and evolving attacks. </a:t>
            </a:r>
          </a:p>
          <a:p>
            <a:pPr>
              <a:spcAft>
                <a:spcPts val="600"/>
              </a:spcAft>
            </a:pPr>
            <a:endParaRPr lang="en-US">
              <a:solidFill>
                <a:schemeClr val="bg1"/>
              </a:solidFill>
            </a:endParaRPr>
          </a:p>
          <a:p>
            <a:pPr>
              <a:spcAft>
                <a:spcPts val="600"/>
              </a:spcAft>
            </a:pPr>
            <a:r>
              <a:rPr lang="en-US">
                <a:solidFill>
                  <a:schemeClr val="bg1"/>
                </a:solidFill>
              </a:rPr>
              <a:t>We can no longer block every possible attack at a firewall that stands between our assets and the threats. We must assume compromise and invest in protections and detections at each phase of an attack (frequently called a kill chain). The overall architecture and each asset in it should be resilient to a compromise. </a:t>
            </a:r>
          </a:p>
          <a:p>
            <a:pPr>
              <a:spcAft>
                <a:spcPts val="600"/>
              </a:spcAft>
            </a:pPr>
            <a:endParaRPr lang="en-US">
              <a:solidFill>
                <a:schemeClr val="bg1"/>
              </a:solidFill>
            </a:endParaRPr>
          </a:p>
          <a:p>
            <a:pPr>
              <a:spcAft>
                <a:spcPts val="600"/>
              </a:spcAft>
            </a:pPr>
            <a:endParaRPr lang="en-US">
              <a:solidFill>
                <a:schemeClr val="bg1"/>
              </a:solidFill>
            </a:endParaRPr>
          </a:p>
          <a:p>
            <a:pPr>
              <a:spcAft>
                <a:spcPts val="600"/>
              </a:spcAft>
            </a:pPr>
            <a:endParaRPr lang="en-US">
              <a:solidFill>
                <a:schemeClr val="bg1"/>
              </a:solidFill>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FB68FF-21D5-4928-BFBA-45CF70C91AE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8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p>
        </p:txBody>
      </p:sp>
      <p:sp>
        <p:nvSpPr>
          <p:cNvPr id="4" name="Slide Number Placeholder 3"/>
          <p:cNvSpPr>
            <a:spLocks noGrp="1"/>
          </p:cNvSpPr>
          <p:nvPr>
            <p:ph type="sldNum" sz="quarter" idx="10"/>
          </p:nvPr>
        </p:nvSpPr>
        <p:spPr/>
        <p:txBody>
          <a:bodyPr/>
          <a:lstStyle/>
          <a:p>
            <a:fld id="{AA759650-762C-9343-8990-0901C80FC791}" type="slidenum">
              <a:rPr lang="en-US" smtClean="0"/>
              <a:pPr/>
              <a:t>10</a:t>
            </a:fld>
            <a:endParaRPr lang="en-US"/>
          </a:p>
        </p:txBody>
      </p:sp>
    </p:spTree>
    <p:extLst>
      <p:ext uri="{BB962C8B-B14F-4D97-AF65-F5344CB8AC3E}">
        <p14:creationId xmlns:p14="http://schemas.microsoft.com/office/powerpoint/2010/main" val="23615466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5.vml"/><Relationship Id="rId5" Type="http://schemas.openxmlformats.org/officeDocument/2006/relationships/image" Target="../media/image23.emf"/><Relationship Id="rId4" Type="http://schemas.openxmlformats.org/officeDocument/2006/relationships/oleObject" Target="../embeddings/oleObject5.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D_cover_page_with_image.02">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77D45B7B-B845-7843-8F59-B661E3885A1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 name="Text Placeholder 53"/>
          <p:cNvSpPr>
            <a:spLocks noGrp="1"/>
          </p:cNvSpPr>
          <p:nvPr>
            <p:ph type="body" sz="quarter" idx="10" hasCustomPrompt="1"/>
          </p:nvPr>
        </p:nvSpPr>
        <p:spPr>
          <a:xfrm>
            <a:off x="4140200" y="3029387"/>
            <a:ext cx="4820467"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Sub-heading/Speaker Name</a:t>
            </a:r>
          </a:p>
        </p:txBody>
      </p:sp>
      <p:sp>
        <p:nvSpPr>
          <p:cNvPr id="6" name="Text Placeholder 60"/>
          <p:cNvSpPr>
            <a:spLocks noGrp="1"/>
          </p:cNvSpPr>
          <p:nvPr>
            <p:ph type="body" sz="quarter" idx="11" hasCustomPrompt="1"/>
          </p:nvPr>
        </p:nvSpPr>
        <p:spPr>
          <a:xfrm>
            <a:off x="4140200" y="2571750"/>
            <a:ext cx="4820467" cy="457637"/>
          </a:xfrm>
          <a:prstGeom prst="rect">
            <a:avLst/>
          </a:prstGeom>
        </p:spPr>
        <p:txBody>
          <a:bodyPr vert="horz"/>
          <a:lstStyle>
            <a:lvl1pPr algn="r">
              <a:lnSpc>
                <a:spcPct val="80000"/>
              </a:lnSpc>
              <a:defRPr sz="2000" b="1" i="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spTree>
    <p:extLst>
      <p:ext uri="{BB962C8B-B14F-4D97-AF65-F5344CB8AC3E}">
        <p14:creationId xmlns:p14="http://schemas.microsoft.com/office/powerpoint/2010/main" val="3027313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968820"/>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19" y="127000"/>
            <a:ext cx="8532155"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6" name="Picture 5" descr="A close up of a logo&#10;&#10;Description automatically generated">
            <a:extLst>
              <a:ext uri="{FF2B5EF4-FFF2-40B4-BE49-F238E27FC236}">
                <a16:creationId xmlns:a16="http://schemas.microsoft.com/office/drawing/2014/main" id="{8423A229-F74B-664C-83A7-750007D194D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521200"/>
            <a:ext cx="2260600" cy="622300"/>
          </a:xfrm>
          <a:prstGeom prst="rect">
            <a:avLst/>
          </a:prstGeom>
        </p:spPr>
      </p:pic>
    </p:spTree>
    <p:extLst>
      <p:ext uri="{BB962C8B-B14F-4D97-AF65-F5344CB8AC3E}">
        <p14:creationId xmlns:p14="http://schemas.microsoft.com/office/powerpoint/2010/main" val="29065228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2">
    <p:bg bwMode="ltGray">
      <p:bgPr>
        <a:solidFill>
          <a:srgbClr val="00000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19" y="127000"/>
            <a:ext cx="8532155" cy="595313"/>
          </a:xfrm>
          <a:prstGeom prst="rect">
            <a:avLst/>
          </a:prstGeom>
        </p:spPr>
        <p:txBody>
          <a:bodyPr anchor="ctr"/>
          <a:lstStyle>
            <a:lvl1pPr>
              <a:defRPr b="1">
                <a:solidFill>
                  <a:srgbClr val="FFFFFF"/>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0" y="1146769"/>
            <a:ext cx="8532155" cy="3433324"/>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pic>
        <p:nvPicPr>
          <p:cNvPr id="6" name="Picture 5" descr="A picture containing food&#10;&#10;Description automatically generated">
            <a:extLst>
              <a:ext uri="{FF2B5EF4-FFF2-40B4-BE49-F238E27FC236}">
                <a16:creationId xmlns:a16="http://schemas.microsoft.com/office/drawing/2014/main" id="{E939E26C-1FC2-7048-952B-793922BF576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7700"/>
            <a:ext cx="2235200" cy="685800"/>
          </a:xfrm>
          <a:prstGeom prst="rect">
            <a:avLst/>
          </a:prstGeom>
        </p:spPr>
      </p:pic>
    </p:spTree>
    <p:extLst>
      <p:ext uri="{BB962C8B-B14F-4D97-AF65-F5344CB8AC3E}">
        <p14:creationId xmlns:p14="http://schemas.microsoft.com/office/powerpoint/2010/main" val="913103342"/>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3">
    <p:bg bwMode="ltGray">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19" y="127000"/>
            <a:ext cx="8532155" cy="595313"/>
          </a:xfrm>
          <a:prstGeom prst="rect">
            <a:avLst/>
          </a:prstGeom>
        </p:spPr>
        <p:txBody>
          <a:bodyPr anchor="ctr"/>
          <a:lstStyle>
            <a:lvl1pPr>
              <a:defRPr b="1">
                <a:solidFill>
                  <a:srgbClr val="FFFFFF"/>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0" y="1146768"/>
            <a:ext cx="8532155" cy="35813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descr="A picture containing food&#10;&#10;Description automatically generated">
            <a:extLst>
              <a:ext uri="{FF2B5EF4-FFF2-40B4-BE49-F238E27FC236}">
                <a16:creationId xmlns:a16="http://schemas.microsoft.com/office/drawing/2014/main" id="{1FF629C4-E47A-2543-A7F8-447889A4C4A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7700"/>
            <a:ext cx="2235200" cy="685800"/>
          </a:xfrm>
          <a:prstGeom prst="rect">
            <a:avLst/>
          </a:prstGeom>
        </p:spPr>
      </p:pic>
    </p:spTree>
    <p:extLst>
      <p:ext uri="{BB962C8B-B14F-4D97-AF65-F5344CB8AC3E}">
        <p14:creationId xmlns:p14="http://schemas.microsoft.com/office/powerpoint/2010/main" val="2372721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4">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97519" y="127000"/>
            <a:ext cx="8532155" cy="595313"/>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sp>
        <p:nvSpPr>
          <p:cNvPr id="8" name="Content Placeholder 2"/>
          <p:cNvSpPr>
            <a:spLocks noGrp="1"/>
          </p:cNvSpPr>
          <p:nvPr>
            <p:ph idx="1"/>
          </p:nvPr>
        </p:nvSpPr>
        <p:spPr>
          <a:xfrm>
            <a:off x="297520" y="1146769"/>
            <a:ext cx="8532155" cy="3384772"/>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4" name="Picture 3" descr="A picture containing food&#10;&#10;Description automatically generated">
            <a:extLst>
              <a:ext uri="{FF2B5EF4-FFF2-40B4-BE49-F238E27FC236}">
                <a16:creationId xmlns:a16="http://schemas.microsoft.com/office/drawing/2014/main" id="{D19EEE74-8970-DF4B-B228-A07D27D227AD}"/>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7700"/>
            <a:ext cx="2235200" cy="685800"/>
          </a:xfrm>
          <a:prstGeom prst="rect">
            <a:avLst/>
          </a:prstGeom>
        </p:spPr>
      </p:pic>
    </p:spTree>
    <p:extLst>
      <p:ext uri="{BB962C8B-B14F-4D97-AF65-F5344CB8AC3E}">
        <p14:creationId xmlns:p14="http://schemas.microsoft.com/office/powerpoint/2010/main" val="219799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D_title_and_2column_content.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1056617"/>
            <a:ext cx="4121820" cy="313956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5"/>
          <p:cNvSpPr>
            <a:spLocks noGrp="1"/>
          </p:cNvSpPr>
          <p:nvPr>
            <p:ph type="body" sz="quarter" idx="12"/>
          </p:nvPr>
        </p:nvSpPr>
        <p:spPr>
          <a:xfrm>
            <a:off x="4724002" y="1056966"/>
            <a:ext cx="4123136" cy="313965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itle 1"/>
          <p:cNvSpPr>
            <a:spLocks noGrp="1"/>
          </p:cNvSpPr>
          <p:nvPr>
            <p:ph type="title"/>
          </p:nvPr>
        </p:nvSpPr>
        <p:spPr>
          <a:xfrm>
            <a:off x="297519" y="127001"/>
            <a:ext cx="8549619" cy="595312"/>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pic>
        <p:nvPicPr>
          <p:cNvPr id="7" name="Picture 6" descr="A picture containing food&#10;&#10;Description automatically generated">
            <a:extLst>
              <a:ext uri="{FF2B5EF4-FFF2-40B4-BE49-F238E27FC236}">
                <a16:creationId xmlns:a16="http://schemas.microsoft.com/office/drawing/2014/main" id="{CAABEA65-D093-CC46-AE04-385BB4DAFE6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7700"/>
            <a:ext cx="2235200" cy="685800"/>
          </a:xfrm>
          <a:prstGeom prst="rect">
            <a:avLst/>
          </a:prstGeom>
        </p:spPr>
      </p:pic>
    </p:spTree>
    <p:extLst>
      <p:ext uri="{BB962C8B-B14F-4D97-AF65-F5344CB8AC3E}">
        <p14:creationId xmlns:p14="http://schemas.microsoft.com/office/powerpoint/2010/main" val="4162279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D_chart_layou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96864" y="908568"/>
            <a:ext cx="8532826" cy="285750"/>
          </a:xfrm>
          <a:prstGeom prst="rect">
            <a:avLst/>
          </a:prstGeom>
        </p:spPr>
        <p:txBody>
          <a:bodyPr/>
          <a:lstStyle>
            <a:lvl1pPr algn="ctr">
              <a:defRPr sz="1400" b="0" i="0">
                <a:solidFill>
                  <a:schemeClr val="tx1"/>
                </a:solidFill>
                <a:latin typeface="Arial" panose="020B0604020202020204" pitchFamily="34" charset="0"/>
                <a:cs typeface="Arial" panose="020B0604020202020204" pitchFamily="34" charset="0"/>
              </a:defRPr>
            </a:lvl1pPr>
            <a:lvl2pPr marL="90488" indent="0" algn="ctr">
              <a:buNone/>
              <a:defRPr sz="1400"/>
            </a:lvl2pPr>
          </a:lstStyle>
          <a:p>
            <a:pPr lvl="0"/>
            <a:r>
              <a:rPr lang="en-US" dirty="0"/>
              <a:t>Click to edit Master text styles</a:t>
            </a:r>
          </a:p>
        </p:txBody>
      </p:sp>
      <p:sp>
        <p:nvSpPr>
          <p:cNvPr id="6" name="Chart Placeholder 5"/>
          <p:cNvSpPr>
            <a:spLocks noGrp="1"/>
          </p:cNvSpPr>
          <p:nvPr>
            <p:ph type="chart" sz="quarter" idx="11"/>
          </p:nvPr>
        </p:nvSpPr>
        <p:spPr>
          <a:xfrm>
            <a:off x="297520" y="1262702"/>
            <a:ext cx="8532155" cy="308157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dirty="0">
                <a:solidFill>
                  <a:schemeClr val="lt1"/>
                </a:solidFill>
                <a:latin typeface="Arial"/>
              </a:defRPr>
            </a:lvl1pPr>
          </a:lstStyle>
          <a:p>
            <a:pPr lvl="0" algn="ctr">
              <a:lnSpc>
                <a:spcPct val="110000"/>
              </a:lnSpc>
              <a:spcBef>
                <a:spcPts val="200"/>
              </a:spcBef>
              <a:spcAft>
                <a:spcPts val="200"/>
              </a:spcAft>
            </a:pPr>
            <a:r>
              <a:rPr lang="en-US" dirty="0"/>
              <a:t>Click icon to add chart</a:t>
            </a:r>
            <a:endParaRPr lang="en-ZA" dirty="0"/>
          </a:p>
        </p:txBody>
      </p:sp>
      <p:sp>
        <p:nvSpPr>
          <p:cNvPr id="5" name="Title 1"/>
          <p:cNvSpPr>
            <a:spLocks noGrp="1"/>
          </p:cNvSpPr>
          <p:nvPr>
            <p:ph type="title"/>
          </p:nvPr>
        </p:nvSpPr>
        <p:spPr>
          <a:xfrm>
            <a:off x="297519" y="127000"/>
            <a:ext cx="8532156" cy="595313"/>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pic>
        <p:nvPicPr>
          <p:cNvPr id="8" name="Picture 7" descr="A close up of a logo&#10;&#10;Description automatically generated">
            <a:extLst>
              <a:ext uri="{FF2B5EF4-FFF2-40B4-BE49-F238E27FC236}">
                <a16:creationId xmlns:a16="http://schemas.microsoft.com/office/drawing/2014/main" id="{774C5D1F-23A1-7940-9DE3-85BB4A870AA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521200"/>
            <a:ext cx="2260600" cy="622300"/>
          </a:xfrm>
          <a:prstGeom prst="rect">
            <a:avLst/>
          </a:prstGeom>
        </p:spPr>
      </p:pic>
    </p:spTree>
    <p:extLst>
      <p:ext uri="{BB962C8B-B14F-4D97-AF65-F5344CB8AC3E}">
        <p14:creationId xmlns:p14="http://schemas.microsoft.com/office/powerpoint/2010/main" val="2044167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D_chart_layout.01">
    <p:bg bwMode="ltGray">
      <p:bgPr>
        <a:solidFill>
          <a:srgbClr val="000000"/>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1" y="1146768"/>
            <a:ext cx="8532154"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itle 1"/>
          <p:cNvSpPr>
            <a:spLocks noGrp="1"/>
          </p:cNvSpPr>
          <p:nvPr>
            <p:ph type="title"/>
          </p:nvPr>
        </p:nvSpPr>
        <p:spPr>
          <a:xfrm>
            <a:off x="305922" y="135724"/>
            <a:ext cx="8532155" cy="595313"/>
          </a:xfrm>
          <a:prstGeom prst="rect">
            <a:avLst/>
          </a:prstGeom>
        </p:spPr>
        <p:txBody>
          <a:bodyPr anchor="ctr"/>
          <a:lstStyle>
            <a:lvl1pPr>
              <a:defRPr b="1">
                <a:solidFill>
                  <a:schemeClr val="bg1"/>
                </a:solidFill>
                <a:latin typeface="Arial"/>
                <a:cs typeface="Arial"/>
              </a:defRPr>
            </a:lvl1pPr>
          </a:lstStyle>
          <a:p>
            <a:r>
              <a:rPr lang="en-US" dirty="0"/>
              <a:t>Click to edit Master title style</a:t>
            </a:r>
            <a:endParaRPr lang="en-ZA" dirty="0"/>
          </a:p>
        </p:txBody>
      </p:sp>
      <p:sp>
        <p:nvSpPr>
          <p:cNvPr id="8" name="Text Placeholder 6"/>
          <p:cNvSpPr>
            <a:spLocks noGrp="1"/>
          </p:cNvSpPr>
          <p:nvPr>
            <p:ph type="body" sz="quarter" idx="12"/>
          </p:nvPr>
        </p:nvSpPr>
        <p:spPr>
          <a:xfrm>
            <a:off x="296864" y="756437"/>
            <a:ext cx="8532826" cy="285750"/>
          </a:xfrm>
          <a:prstGeom prst="rect">
            <a:avLst/>
          </a:prstGeom>
        </p:spPr>
        <p:txBody>
          <a:bodyPr/>
          <a:lstStyle>
            <a:lvl1pPr algn="l">
              <a:defRPr sz="1400" i="0">
                <a:solidFill>
                  <a:schemeClr val="bg1"/>
                </a:solidFill>
                <a:latin typeface="Arial" panose="020B0604020202020204" pitchFamily="34" charset="0"/>
                <a:cs typeface="Arial" panose="020B0604020202020204" pitchFamily="34" charset="0"/>
              </a:defRPr>
            </a:lvl1pPr>
            <a:lvl2pPr marL="90488"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3716061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D_chart_layout.02">
    <p:bg bwMode="ltGray">
      <p:bgPr>
        <a:solidFill>
          <a:schemeClr val="bg2"/>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0" y="1146768"/>
            <a:ext cx="8532155"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itle 1"/>
          <p:cNvSpPr>
            <a:spLocks noGrp="1"/>
          </p:cNvSpPr>
          <p:nvPr>
            <p:ph type="title"/>
          </p:nvPr>
        </p:nvSpPr>
        <p:spPr>
          <a:xfrm>
            <a:off x="297520" y="127000"/>
            <a:ext cx="8532154" cy="595313"/>
          </a:xfrm>
          <a:prstGeom prst="rect">
            <a:avLst/>
          </a:prstGeom>
        </p:spPr>
        <p:txBody>
          <a:bodyPr anchor="ctr"/>
          <a:lstStyle>
            <a:lvl1pPr>
              <a:defRPr b="1">
                <a:solidFill>
                  <a:schemeClr val="bg1"/>
                </a:solidFill>
                <a:latin typeface="Arial"/>
                <a:cs typeface="Arial"/>
              </a:defRPr>
            </a:lvl1pPr>
          </a:lstStyle>
          <a:p>
            <a:r>
              <a:rPr lang="en-US"/>
              <a:t>Click to edit Master title style</a:t>
            </a:r>
            <a:endParaRPr lang="en-ZA"/>
          </a:p>
        </p:txBody>
      </p:sp>
      <p:sp>
        <p:nvSpPr>
          <p:cNvPr id="8" name="Text Placeholder 6"/>
          <p:cNvSpPr>
            <a:spLocks noGrp="1"/>
          </p:cNvSpPr>
          <p:nvPr>
            <p:ph type="body" sz="quarter" idx="12"/>
          </p:nvPr>
        </p:nvSpPr>
        <p:spPr>
          <a:xfrm>
            <a:off x="296864" y="756437"/>
            <a:ext cx="8532825" cy="285750"/>
          </a:xfrm>
          <a:prstGeom prst="rect">
            <a:avLst/>
          </a:prstGeom>
        </p:spPr>
        <p:txBody>
          <a:bodyPr/>
          <a:lstStyle>
            <a:lvl1pPr algn="l">
              <a:defRPr sz="1400" i="0">
                <a:solidFill>
                  <a:schemeClr val="bg1"/>
                </a:solidFill>
                <a:latin typeface="Arial" panose="020B0604020202020204" pitchFamily="34" charset="0"/>
                <a:cs typeface="Arial" panose="020B0604020202020204" pitchFamily="34" charset="0"/>
              </a:defRPr>
            </a:lvl1pPr>
            <a:lvl2pPr marL="90488"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1004639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D_chart_layout.03">
    <p:bg bwMode="lt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1146768"/>
            <a:ext cx="8532155" cy="3612935"/>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19" y="127000"/>
            <a:ext cx="8532155" cy="595313"/>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sp>
        <p:nvSpPr>
          <p:cNvPr id="5" name="Text Placeholder 6"/>
          <p:cNvSpPr>
            <a:spLocks noGrp="1"/>
          </p:cNvSpPr>
          <p:nvPr>
            <p:ph type="body" sz="quarter" idx="12"/>
          </p:nvPr>
        </p:nvSpPr>
        <p:spPr>
          <a:xfrm>
            <a:off x="296864" y="756437"/>
            <a:ext cx="8532826" cy="285750"/>
          </a:xfrm>
          <a:prstGeom prst="rect">
            <a:avLst/>
          </a:prstGeom>
        </p:spPr>
        <p:txBody>
          <a:bodyPr/>
          <a:lstStyle>
            <a:lvl1pPr algn="ctr">
              <a:defRPr sz="1400" b="0" i="0">
                <a:solidFill>
                  <a:schemeClr val="tx1"/>
                </a:solidFill>
                <a:latin typeface="Arial" panose="020B0604020202020204" pitchFamily="34" charset="0"/>
                <a:cs typeface="Arial" panose="020B0604020202020204" pitchFamily="34" charset="0"/>
              </a:defRPr>
            </a:lvl1pPr>
            <a:lvl2pPr marL="90488"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2013825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grey_background">
    <p:bg bwMode="ltGray">
      <p:bgPr>
        <a:solidFill>
          <a:schemeClr val="tx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7"/>
            <a:ext cx="2854058" cy="2415309"/>
          </a:xfrm>
          <a:prstGeom prst="roundRect">
            <a:avLst>
              <a:gd name="adj" fmla="val 0"/>
            </a:avLst>
          </a:prstGeom>
          <a:solidFill>
            <a:schemeClr val="bg2"/>
          </a:solidFill>
          <a:ln>
            <a:noFill/>
          </a:ln>
          <a:effectLst/>
        </p:spPr>
        <p:txBody>
          <a:bodyPr anchor="ctr"/>
          <a:lstStyle>
            <a:lvl1pPr algn="l">
              <a:defRPr sz="2400">
                <a:solidFill>
                  <a:schemeClr val="tx1"/>
                </a:solidFill>
                <a:latin typeface="Arial"/>
                <a:cs typeface="Arial"/>
              </a:defRPr>
            </a:lvl1pPr>
            <a:lvl2pPr algn="l">
              <a:defRPr>
                <a:solidFill>
                  <a:schemeClr val="tx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307810" y="3394326"/>
            <a:ext cx="2374356" cy="1449193"/>
          </a:xfrm>
          <a:prstGeom prst="roundRect">
            <a:avLst>
              <a:gd name="adj" fmla="val 0"/>
            </a:avLst>
          </a:prstGeom>
          <a:solidFill>
            <a:schemeClr val="bg1"/>
          </a:solidFill>
          <a:ln>
            <a:noFill/>
          </a:ln>
          <a:effectLst/>
        </p:spPr>
        <p:txBody>
          <a:bodyPr anchor="ctr"/>
          <a:lstStyle>
            <a:lvl1pPr algn="l">
              <a:defRPr sz="2000"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5" name="Text Placeholder 4"/>
          <p:cNvSpPr>
            <a:spLocks noGrp="1"/>
          </p:cNvSpPr>
          <p:nvPr>
            <p:ph type="body" sz="quarter" idx="14"/>
          </p:nvPr>
        </p:nvSpPr>
        <p:spPr>
          <a:xfrm>
            <a:off x="2813537" y="3394326"/>
            <a:ext cx="6112151" cy="1449193"/>
          </a:xfrm>
          <a:prstGeom prst="roundRect">
            <a:avLst>
              <a:gd name="adj" fmla="val 0"/>
            </a:avLst>
          </a:prstGeom>
          <a:solidFill>
            <a:schemeClr val="accent1"/>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8" y="858957"/>
            <a:ext cx="2036258" cy="2415309"/>
          </a:xfrm>
          <a:prstGeom prst="roundRect">
            <a:avLst>
              <a:gd name="adj" fmla="val 0"/>
            </a:avLst>
          </a:prstGeom>
          <a:solidFill>
            <a:schemeClr val="accent5"/>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1"/>
            <a:ext cx="3499434" cy="1850277"/>
          </a:xfrm>
          <a:prstGeom prst="roundRect">
            <a:avLst>
              <a:gd name="adj" fmla="val 0"/>
            </a:avLst>
          </a:prstGeom>
          <a:solidFill>
            <a:schemeClr val="tx2"/>
          </a:solidFill>
          <a:ln>
            <a:noFill/>
          </a:ln>
          <a:effectLst/>
        </p:spPr>
        <p:txBody>
          <a:bodyPr anchor="ctr"/>
          <a:lstStyle>
            <a:lvl1pPr algn="l">
              <a:defRPr sz="2400">
                <a:solidFill>
                  <a:schemeClr val="tx1"/>
                </a:solidFill>
                <a:effectLst/>
                <a:latin typeface="Arial"/>
                <a:cs typeface="Arial"/>
              </a:defRPr>
            </a:lvl1pPr>
            <a:lvl2pPr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bg1"/>
          </a:solidFill>
          <a:ln>
            <a:noFill/>
          </a:ln>
          <a:effectLst/>
        </p:spPr>
        <p:txBody>
          <a:bodyPr anchor="ctr"/>
          <a:lstStyle>
            <a:lvl1pPr algn="r">
              <a:defRPr>
                <a:solidFill>
                  <a:srgbClr val="455565"/>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307810" y="142521"/>
            <a:ext cx="5034629" cy="563513"/>
          </a:xfrm>
          <a:prstGeom prst="rect">
            <a:avLst/>
          </a:prstGeom>
        </p:spPr>
        <p:txBody>
          <a:bodyPr/>
          <a:lstStyle>
            <a:lvl1pPr algn="l">
              <a:defRPr sz="2200"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4142587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D_contents_page">
    <p:spTree>
      <p:nvGrpSpPr>
        <p:cNvPr id="1" name=""/>
        <p:cNvGrpSpPr/>
        <p:nvPr/>
      </p:nvGrpSpPr>
      <p:grpSpPr>
        <a:xfrm>
          <a:off x="0" y="0"/>
          <a:ext cx="0" cy="0"/>
          <a:chOff x="0" y="0"/>
          <a:chExt cx="0" cy="0"/>
        </a:xfrm>
      </p:grpSpPr>
      <p:pic>
        <p:nvPicPr>
          <p:cNvPr id="5" name="Picture 4" descr="A picture containing man, holding, ball, room&#10;&#10;Description automatically generated">
            <a:extLst>
              <a:ext uri="{FF2B5EF4-FFF2-40B4-BE49-F238E27FC236}">
                <a16:creationId xmlns:a16="http://schemas.microsoft.com/office/drawing/2014/main" id="{2ED1A41F-FB00-3C48-9CF6-1DCE0CED4E0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le 1"/>
          <p:cNvSpPr>
            <a:spLocks noGrp="1"/>
          </p:cNvSpPr>
          <p:nvPr>
            <p:ph type="title" hasCustomPrompt="1"/>
          </p:nvPr>
        </p:nvSpPr>
        <p:spPr>
          <a:xfrm>
            <a:off x="307976" y="120752"/>
            <a:ext cx="7845434" cy="625335"/>
          </a:xfrm>
          <a:prstGeom prst="rect">
            <a:avLst/>
          </a:prstGeom>
        </p:spPr>
        <p:txBody>
          <a:bodyPr anchor="ctr"/>
          <a:lstStyle>
            <a:lvl1pPr>
              <a:defRPr b="1">
                <a:solidFill>
                  <a:schemeClr val="tx1"/>
                </a:solidFill>
                <a:latin typeface="Arial"/>
                <a:cs typeface="Arial"/>
              </a:defRPr>
            </a:lvl1pPr>
          </a:lstStyle>
          <a:p>
            <a:r>
              <a:rPr lang="en-US" dirty="0"/>
              <a:t>Contents</a:t>
            </a:r>
            <a:endParaRPr lang="en-ZA" dirty="0"/>
          </a:p>
        </p:txBody>
      </p:sp>
      <p:sp>
        <p:nvSpPr>
          <p:cNvPr id="8" name="Text Placeholder 7"/>
          <p:cNvSpPr>
            <a:spLocks noGrp="1"/>
          </p:cNvSpPr>
          <p:nvPr>
            <p:ph type="body" sz="quarter" idx="10" hasCustomPrompt="1"/>
          </p:nvPr>
        </p:nvSpPr>
        <p:spPr>
          <a:xfrm>
            <a:off x="300038" y="945247"/>
            <a:ext cx="1516072" cy="365125"/>
          </a:xfrm>
          <a:prstGeom prst="rect">
            <a:avLst/>
          </a:prstGeom>
        </p:spPr>
        <p:txBody>
          <a:bodyPr vert="horz"/>
          <a:lstStyle>
            <a:lvl1pPr>
              <a:defRPr b="1">
                <a:solidFill>
                  <a:schemeClr val="bg1"/>
                </a:solidFill>
                <a:latin typeface="Arial"/>
                <a:cs typeface="Arial"/>
              </a:defRPr>
            </a:lvl1pPr>
          </a:lstStyle>
          <a:p>
            <a:pPr lvl="0"/>
            <a:r>
              <a:rPr lang="en-US" dirty="0"/>
              <a:t>01</a:t>
            </a:r>
          </a:p>
        </p:txBody>
      </p:sp>
      <p:sp>
        <p:nvSpPr>
          <p:cNvPr id="18" name="Text Placeholder 17"/>
          <p:cNvSpPr>
            <a:spLocks noGrp="1"/>
          </p:cNvSpPr>
          <p:nvPr>
            <p:ph type="body" sz="quarter" idx="11" hasCustomPrompt="1"/>
          </p:nvPr>
        </p:nvSpPr>
        <p:spPr>
          <a:xfrm>
            <a:off x="300038" y="14532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38" name="Text Placeholder 7"/>
          <p:cNvSpPr>
            <a:spLocks noGrp="1"/>
          </p:cNvSpPr>
          <p:nvPr>
            <p:ph type="body" sz="quarter" idx="12" hasCustomPrompt="1"/>
          </p:nvPr>
        </p:nvSpPr>
        <p:spPr>
          <a:xfrm>
            <a:off x="1910907" y="945247"/>
            <a:ext cx="1516072" cy="365125"/>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1910907" y="14532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41" name="Text Placeholder 7"/>
          <p:cNvSpPr>
            <a:spLocks noGrp="1"/>
          </p:cNvSpPr>
          <p:nvPr>
            <p:ph type="body" sz="quarter" idx="14" hasCustomPrompt="1"/>
          </p:nvPr>
        </p:nvSpPr>
        <p:spPr>
          <a:xfrm>
            <a:off x="3518250" y="945247"/>
            <a:ext cx="1516072" cy="365125"/>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3518250" y="14532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5116767" y="945247"/>
            <a:ext cx="1516072" cy="365125"/>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5116767" y="14532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300038" y="2747747"/>
            <a:ext cx="1516072" cy="365125"/>
          </a:xfrm>
          <a:prstGeom prst="rect">
            <a:avLst/>
          </a:prstGeom>
        </p:spPr>
        <p:txBody>
          <a:bodyPr vert="horz"/>
          <a:lstStyle>
            <a:lvl1pPr>
              <a:defRPr b="1">
                <a:solidFill>
                  <a:schemeClr val="bg1"/>
                </a:solidFill>
                <a:latin typeface="Arial"/>
                <a:cs typeface="Arial"/>
              </a:defRPr>
            </a:lvl1pPr>
          </a:lstStyle>
          <a:p>
            <a:pPr lvl="0"/>
            <a:r>
              <a:rPr lang="en-US" dirty="0"/>
              <a:t>05</a:t>
            </a:r>
          </a:p>
        </p:txBody>
      </p:sp>
      <p:sp>
        <p:nvSpPr>
          <p:cNvPr id="66" name="Text Placeholder 17"/>
          <p:cNvSpPr>
            <a:spLocks noGrp="1"/>
          </p:cNvSpPr>
          <p:nvPr>
            <p:ph type="body" sz="quarter" idx="21" hasCustomPrompt="1"/>
          </p:nvPr>
        </p:nvSpPr>
        <p:spPr>
          <a:xfrm>
            <a:off x="300038"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1910907" y="2747747"/>
            <a:ext cx="1516072" cy="365125"/>
          </a:xfrm>
          <a:prstGeom prst="rect">
            <a:avLst/>
          </a:prstGeom>
        </p:spPr>
        <p:txBody>
          <a:bodyPr vert="horz"/>
          <a:lstStyle>
            <a:lvl1pPr>
              <a:defRPr b="1">
                <a:solidFill>
                  <a:schemeClr val="bg1"/>
                </a:solidFill>
                <a:latin typeface="Arial"/>
                <a:cs typeface="Arial"/>
              </a:defRPr>
            </a:lvl1pPr>
          </a:lstStyle>
          <a:p>
            <a:pPr lvl="0"/>
            <a:r>
              <a:rPr lang="en-US" dirty="0"/>
              <a:t>06</a:t>
            </a:r>
          </a:p>
        </p:txBody>
      </p:sp>
      <p:sp>
        <p:nvSpPr>
          <p:cNvPr id="69" name="Text Placeholder 17"/>
          <p:cNvSpPr>
            <a:spLocks noGrp="1"/>
          </p:cNvSpPr>
          <p:nvPr>
            <p:ph type="body" sz="quarter" idx="23" hasCustomPrompt="1"/>
          </p:nvPr>
        </p:nvSpPr>
        <p:spPr>
          <a:xfrm>
            <a:off x="1910907"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71" name="Text Placeholder 7"/>
          <p:cNvSpPr>
            <a:spLocks noGrp="1"/>
          </p:cNvSpPr>
          <p:nvPr>
            <p:ph type="body" sz="quarter" idx="24" hasCustomPrompt="1"/>
          </p:nvPr>
        </p:nvSpPr>
        <p:spPr>
          <a:xfrm>
            <a:off x="3518250" y="2747747"/>
            <a:ext cx="1516072" cy="365125"/>
          </a:xfrm>
          <a:prstGeom prst="rect">
            <a:avLst/>
          </a:prstGeom>
        </p:spPr>
        <p:txBody>
          <a:bodyPr vert="horz"/>
          <a:lstStyle>
            <a:lvl1pPr>
              <a:defRPr b="1">
                <a:solidFill>
                  <a:schemeClr val="bg1"/>
                </a:solidFill>
                <a:latin typeface="Arial"/>
                <a:cs typeface="Arial"/>
              </a:defRPr>
            </a:lvl1pPr>
          </a:lstStyle>
          <a:p>
            <a:pPr lvl="0"/>
            <a:r>
              <a:rPr lang="en-US" dirty="0"/>
              <a:t>07</a:t>
            </a:r>
          </a:p>
        </p:txBody>
      </p:sp>
      <p:sp>
        <p:nvSpPr>
          <p:cNvPr id="72" name="Text Placeholder 17"/>
          <p:cNvSpPr>
            <a:spLocks noGrp="1"/>
          </p:cNvSpPr>
          <p:nvPr>
            <p:ph type="body" sz="quarter" idx="25" hasCustomPrompt="1"/>
          </p:nvPr>
        </p:nvSpPr>
        <p:spPr>
          <a:xfrm>
            <a:off x="3518250"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5116767" y="2747747"/>
            <a:ext cx="1516072" cy="365125"/>
          </a:xfrm>
          <a:prstGeom prst="rect">
            <a:avLst/>
          </a:prstGeom>
        </p:spPr>
        <p:txBody>
          <a:bodyPr vert="horz"/>
          <a:lstStyle>
            <a:lvl1pPr>
              <a:defRPr b="1">
                <a:solidFill>
                  <a:schemeClr val="bg1"/>
                </a:solidFill>
                <a:latin typeface="Arial"/>
                <a:cs typeface="Arial"/>
              </a:defRPr>
            </a:lvl1pPr>
          </a:lstStyle>
          <a:p>
            <a:pPr lvl="0"/>
            <a:r>
              <a:rPr lang="en-US" dirty="0"/>
              <a:t>08</a:t>
            </a:r>
          </a:p>
        </p:txBody>
      </p:sp>
      <p:sp>
        <p:nvSpPr>
          <p:cNvPr id="75" name="Text Placeholder 17"/>
          <p:cNvSpPr>
            <a:spLocks noGrp="1"/>
          </p:cNvSpPr>
          <p:nvPr>
            <p:ph type="body" sz="quarter" idx="27" hasCustomPrompt="1"/>
          </p:nvPr>
        </p:nvSpPr>
        <p:spPr>
          <a:xfrm>
            <a:off x="5116767"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0"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Tree>
    <p:extLst>
      <p:ext uri="{BB962C8B-B14F-4D97-AF65-F5344CB8AC3E}">
        <p14:creationId xmlns:p14="http://schemas.microsoft.com/office/powerpoint/2010/main" val="2268084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blue_background">
    <p:bg bwMode="ltGray">
      <p:bgPr>
        <a:solidFill>
          <a:schemeClr val="accent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7"/>
            <a:ext cx="2854058" cy="2415309"/>
          </a:xfrm>
          <a:prstGeom prst="roundRect">
            <a:avLst>
              <a:gd name="adj" fmla="val 0"/>
            </a:avLst>
          </a:prstGeom>
          <a:solidFill>
            <a:schemeClr val="accent2"/>
          </a:solidFill>
          <a:ln>
            <a:noFill/>
          </a:ln>
          <a:effectLst/>
        </p:spPr>
        <p:txBody>
          <a:bodyPr anchor="ctr"/>
          <a:lstStyle>
            <a:lvl1pPr marL="179388" indent="0" algn="l">
              <a:defRPr sz="2400">
                <a:solidFill>
                  <a:srgbClr val="FFFFFF"/>
                </a:solidFill>
                <a:latin typeface="Arial"/>
                <a:cs typeface="Arial"/>
              </a:defRPr>
            </a:lvl1pPr>
            <a:lvl2pPr marL="644525" indent="-285750" algn="l">
              <a:buFont typeface="Arial" panose="020B0604020202020204" pitchFamily="34" charset="0"/>
              <a:buChar char="•"/>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4" name="Text Placeholder 4"/>
          <p:cNvSpPr>
            <a:spLocks noGrp="1"/>
          </p:cNvSpPr>
          <p:nvPr>
            <p:ph type="body" sz="quarter" idx="13"/>
          </p:nvPr>
        </p:nvSpPr>
        <p:spPr>
          <a:xfrm>
            <a:off x="307810" y="3394326"/>
            <a:ext cx="2374356" cy="1449193"/>
          </a:xfrm>
          <a:prstGeom prst="roundRect">
            <a:avLst>
              <a:gd name="adj" fmla="val 0"/>
            </a:avLst>
          </a:prstGeom>
          <a:solidFill>
            <a:schemeClr val="bg1"/>
          </a:solidFill>
          <a:ln>
            <a:noFill/>
          </a:ln>
          <a:effectLst/>
        </p:spPr>
        <p:txBody>
          <a:bodyPr anchor="ctr"/>
          <a:lstStyle>
            <a:lvl1pPr algn="l">
              <a:defRPr sz="2000" b="1">
                <a:solidFill>
                  <a:srgbClr val="455565"/>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2813537" y="3386234"/>
            <a:ext cx="6112151" cy="1449193"/>
          </a:xfrm>
          <a:prstGeom prst="roundRect">
            <a:avLst>
              <a:gd name="adj" fmla="val 0"/>
            </a:avLst>
          </a:prstGeom>
          <a:solidFill>
            <a:schemeClr val="bg2"/>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8" y="850865"/>
            <a:ext cx="2036258" cy="2415309"/>
          </a:xfrm>
          <a:prstGeom prst="roundRect">
            <a:avLst>
              <a:gd name="adj" fmla="val 0"/>
            </a:avLst>
          </a:prstGeom>
          <a:solidFill>
            <a:schemeClr val="bg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1"/>
            <a:ext cx="3499434" cy="1850277"/>
          </a:xfrm>
          <a:prstGeom prst="roundRect">
            <a:avLst>
              <a:gd name="adj" fmla="val 0"/>
            </a:avLst>
          </a:prstGeom>
          <a:solidFill>
            <a:schemeClr val="accent3"/>
          </a:solidFill>
          <a:ln>
            <a:noFill/>
          </a:ln>
          <a:effectLst/>
        </p:spPr>
        <p:txBody>
          <a:bodyPr anchor="ctr"/>
          <a:lstStyle>
            <a:lvl1pPr marL="179388" indent="0" algn="l">
              <a:defRPr sz="2400">
                <a:solidFill>
                  <a:srgbClr val="FFFFFF"/>
                </a:solidFill>
                <a:effectLst/>
                <a:latin typeface="Arial"/>
                <a:cs typeface="Arial"/>
              </a:defRPr>
            </a:lvl1pPr>
            <a:lvl2pPr marL="465137" indent="-285750" algn="l">
              <a:buFont typeface="Arial" panose="020B0604020202020204" pitchFamily="34" charset="0"/>
              <a:buChar char="•"/>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bg1"/>
          </a:solidFill>
          <a:ln>
            <a:noFill/>
          </a:ln>
          <a:effectLst/>
        </p:spPr>
        <p:txBody>
          <a:bodyPr anchor="ctr"/>
          <a:lstStyle>
            <a:lvl1pPr algn="r">
              <a:defRPr>
                <a:solidFill>
                  <a:srgbClr val="455565"/>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307810" y="142521"/>
            <a:ext cx="5034629" cy="563513"/>
          </a:xfrm>
          <a:prstGeom prst="rect">
            <a:avLst/>
          </a:prstGeom>
        </p:spPr>
        <p:txBody>
          <a:bodyPr/>
          <a:lstStyle>
            <a:lvl1pPr algn="l">
              <a:defRPr sz="2200"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17851016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white_background">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7"/>
            <a:ext cx="2854058" cy="2415309"/>
          </a:xfrm>
          <a:prstGeom prst="roundRect">
            <a:avLst>
              <a:gd name="adj" fmla="val 0"/>
            </a:avLst>
          </a:prstGeom>
          <a:solidFill>
            <a:schemeClr val="accent1"/>
          </a:solidFill>
          <a:ln>
            <a:noFill/>
          </a:ln>
          <a:effectLst/>
        </p:spPr>
        <p:txBody>
          <a:bodyPr anchor="ctr"/>
          <a:lstStyle>
            <a:lvl1pPr marL="87313" indent="0" algn="l">
              <a:defRPr sz="2400">
                <a:solidFill>
                  <a:schemeClr val="bg1"/>
                </a:solidFill>
                <a:latin typeface="Arial"/>
                <a:cs typeface="Arial"/>
              </a:defRPr>
            </a:lvl1pPr>
            <a:lvl2pPr marL="373063" indent="-285750" algn="l">
              <a:buFont typeface="Arial" panose="020B0604020202020204" pitchFamily="34" charset="0"/>
              <a:buChar char="•"/>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4" name="Text Placeholder 4"/>
          <p:cNvSpPr>
            <a:spLocks noGrp="1"/>
          </p:cNvSpPr>
          <p:nvPr>
            <p:ph type="body" sz="quarter" idx="13"/>
          </p:nvPr>
        </p:nvSpPr>
        <p:spPr>
          <a:xfrm>
            <a:off x="307810" y="3394326"/>
            <a:ext cx="2374356" cy="1449193"/>
          </a:xfrm>
          <a:prstGeom prst="roundRect">
            <a:avLst>
              <a:gd name="adj" fmla="val 0"/>
            </a:avLst>
          </a:prstGeom>
          <a:solidFill>
            <a:schemeClr val="bg2"/>
          </a:solidFill>
          <a:ln>
            <a:noFill/>
          </a:ln>
          <a:effectLst/>
        </p:spPr>
        <p:txBody>
          <a:bodyPr anchor="ctr"/>
          <a:lstStyle>
            <a:lvl1pPr marL="87313" indent="0"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5" name="Text Placeholder 4"/>
          <p:cNvSpPr>
            <a:spLocks noGrp="1"/>
          </p:cNvSpPr>
          <p:nvPr>
            <p:ph type="body" sz="quarter" idx="14"/>
          </p:nvPr>
        </p:nvSpPr>
        <p:spPr>
          <a:xfrm>
            <a:off x="2813537" y="3394326"/>
            <a:ext cx="6112151" cy="1449193"/>
          </a:xfrm>
          <a:prstGeom prst="roundRect">
            <a:avLst>
              <a:gd name="adj" fmla="val 0"/>
            </a:avLst>
          </a:prstGeom>
          <a:solidFill>
            <a:schemeClr val="tx1">
              <a:lumMod val="75000"/>
            </a:schemeClr>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8" y="858957"/>
            <a:ext cx="2036258" cy="2415309"/>
          </a:xfrm>
          <a:prstGeom prst="roundRect">
            <a:avLst>
              <a:gd name="adj" fmla="val 0"/>
            </a:avLst>
          </a:prstGeom>
          <a:solidFill>
            <a:schemeClr val="tx1">
              <a:lumMod val="75000"/>
            </a:schemeClr>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1"/>
            <a:ext cx="3499434" cy="1850277"/>
          </a:xfrm>
          <a:prstGeom prst="roundRect">
            <a:avLst>
              <a:gd name="adj" fmla="val 0"/>
            </a:avLst>
          </a:prstGeom>
          <a:solidFill>
            <a:schemeClr val="accent5"/>
          </a:solidFill>
          <a:ln>
            <a:noFill/>
          </a:ln>
          <a:effectLst/>
        </p:spPr>
        <p:txBody>
          <a:bodyPr anchor="ctr"/>
          <a:lstStyle>
            <a:lvl1pPr marL="87313" indent="0" algn="l">
              <a:defRPr sz="2400">
                <a:solidFill>
                  <a:schemeClr val="bg1"/>
                </a:solidFill>
                <a:effectLst/>
                <a:latin typeface="Arial"/>
                <a:cs typeface="Arial"/>
              </a:defRPr>
            </a:lvl1pPr>
            <a:lvl2pPr marL="373063" indent="-285750" algn="l">
              <a:buFont typeface="Arial" panose="020B0604020202020204" pitchFamily="34" charset="0"/>
              <a:buChar char="•"/>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tx2"/>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 name="Title 1"/>
          <p:cNvSpPr>
            <a:spLocks noGrp="1"/>
          </p:cNvSpPr>
          <p:nvPr>
            <p:ph type="title"/>
          </p:nvPr>
        </p:nvSpPr>
        <p:spPr>
          <a:xfrm>
            <a:off x="307810" y="142521"/>
            <a:ext cx="5034629" cy="563513"/>
          </a:xfrm>
          <a:prstGeom prst="rect">
            <a:avLst/>
          </a:prstGeom>
        </p:spPr>
        <p:txBody>
          <a:bodyPr/>
          <a:lstStyle>
            <a:lvl1pPr algn="l">
              <a:defRPr sz="2200" b="1">
                <a:solidFill>
                  <a:schemeClr val="tx1"/>
                </a:solidFill>
                <a:latin typeface="Arial"/>
                <a:cs typeface="Arial"/>
              </a:defRPr>
            </a:lvl1pPr>
          </a:lstStyle>
          <a:p>
            <a:r>
              <a:rPr lang="en-US" dirty="0"/>
              <a:t>Click to edit Master title style</a:t>
            </a:r>
            <a:endParaRPr lang="en-ZA" dirty="0"/>
          </a:p>
        </p:txBody>
      </p:sp>
    </p:spTree>
    <p:extLst>
      <p:ext uri="{BB962C8B-B14F-4D97-AF65-F5344CB8AC3E}">
        <p14:creationId xmlns:p14="http://schemas.microsoft.com/office/powerpoint/2010/main" val="39808681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1">
    <p:bg>
      <p:bgPr>
        <a:solidFill>
          <a:srgbClr val="000000"/>
        </a:solidFill>
        <a:effectLst/>
      </p:bgPr>
    </p:bg>
    <p:spTree>
      <p:nvGrpSpPr>
        <p:cNvPr id="1" name=""/>
        <p:cNvGrpSpPr/>
        <p:nvPr/>
      </p:nvGrpSpPr>
      <p:grpSpPr>
        <a:xfrm>
          <a:off x="0" y="0"/>
          <a:ext cx="0" cy="0"/>
          <a:chOff x="0" y="0"/>
          <a:chExt cx="0" cy="0"/>
        </a:xfrm>
      </p:grpSpPr>
      <p:sp>
        <p:nvSpPr>
          <p:cNvPr id="2" name="Rectangle 1"/>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28" name="Picture Placeholder 25"/>
          <p:cNvSpPr>
            <a:spLocks noGrp="1"/>
          </p:cNvSpPr>
          <p:nvPr>
            <p:ph type="pic" sz="quarter" idx="22" hasCustomPrompt="1"/>
          </p:nvPr>
        </p:nvSpPr>
        <p:spPr>
          <a:xfrm>
            <a:off x="2908334" y="3041283"/>
            <a:ext cx="4028516" cy="1653402"/>
          </a:xfrm>
          <a:prstGeom prst="roundRect">
            <a:avLst>
              <a:gd name="adj" fmla="val 0"/>
            </a:avLst>
          </a:prstGeom>
          <a:solidFill>
            <a:schemeClr val="tx2"/>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8"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6" name="Picture Placeholder 25"/>
          <p:cNvSpPr>
            <a:spLocks noGrp="1"/>
          </p:cNvSpPr>
          <p:nvPr>
            <p:ph type="pic" sz="quarter" idx="10" hasCustomPrompt="1"/>
          </p:nvPr>
        </p:nvSpPr>
        <p:spPr>
          <a:xfrm>
            <a:off x="320824"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8" y="1664069"/>
            <a:ext cx="1806573" cy="2010520"/>
          </a:xfrm>
          <a:prstGeom prst="roundRect">
            <a:avLst>
              <a:gd name="adj" fmla="val 0"/>
            </a:avLst>
          </a:prstGeom>
          <a:solidFill>
            <a:schemeClr val="accent4"/>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4" y="298818"/>
            <a:ext cx="3272751" cy="266065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19" name="Text Placeholder 4"/>
          <p:cNvSpPr>
            <a:spLocks noGrp="1"/>
          </p:cNvSpPr>
          <p:nvPr>
            <p:ph type="body" sz="quarter" idx="17"/>
          </p:nvPr>
        </p:nvSpPr>
        <p:spPr>
          <a:xfrm>
            <a:off x="3676536" y="298819"/>
            <a:ext cx="3260314" cy="2660651"/>
          </a:xfrm>
          <a:prstGeom prst="roundRect">
            <a:avLst>
              <a:gd name="adj" fmla="val 0"/>
            </a:avLst>
          </a:prstGeom>
          <a:noFill/>
          <a:ln>
            <a:noFill/>
          </a:ln>
          <a:effectLst/>
        </p:spPr>
        <p:txBody>
          <a:bodyPr anchor="ctr"/>
          <a:lstStyle>
            <a:lvl1pPr algn="l">
              <a:defRPr sz="2400">
                <a:solidFill>
                  <a:schemeClr val="bg1"/>
                </a:solidFill>
                <a:effectLst/>
                <a:latin typeface="Arial"/>
                <a:cs typeface="Arial"/>
              </a:defRPr>
            </a:lvl1pPr>
            <a:lvl2pPr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0" y="298819"/>
            <a:ext cx="1816262" cy="1275722"/>
          </a:xfrm>
          <a:prstGeom prst="roundRect">
            <a:avLst>
              <a:gd name="adj" fmla="val 0"/>
            </a:avLst>
          </a:prstGeom>
          <a:solidFill>
            <a:schemeClr val="bg2"/>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8" y="3756641"/>
            <a:ext cx="1806574" cy="951885"/>
          </a:xfrm>
          <a:prstGeom prst="roundRect">
            <a:avLst>
              <a:gd name="adj" fmla="val 0"/>
            </a:avLst>
          </a:prstGeom>
          <a:solidFill>
            <a:schemeClr val="accent3"/>
          </a:solidFill>
          <a:ln>
            <a:noFill/>
          </a:ln>
          <a:effectLst/>
        </p:spPr>
        <p:txBody>
          <a:bodyPr anchor="ctr"/>
          <a:lstStyle>
            <a:lvl1pPr algn="ctr">
              <a:defRPr sz="1600">
                <a:solidFill>
                  <a:srgbClr val="455565"/>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2"/>
            <a:ext cx="2522984" cy="1669033"/>
          </a:xfrm>
          <a:prstGeom prst="roundRect">
            <a:avLst>
              <a:gd name="adj" fmla="val 0"/>
            </a:avLst>
          </a:prstGeom>
          <a:solidFill>
            <a:schemeClr val="accent2"/>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4" y="3719719"/>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7002300" y="2694672"/>
            <a:ext cx="181626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320824" y="1982646"/>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00517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D_custom_layout_text_colour_image_mix.0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28" name="Picture Placeholder 25"/>
          <p:cNvSpPr>
            <a:spLocks noGrp="1"/>
          </p:cNvSpPr>
          <p:nvPr>
            <p:ph type="pic" sz="quarter" idx="22" hasCustomPrompt="1"/>
          </p:nvPr>
        </p:nvSpPr>
        <p:spPr>
          <a:xfrm>
            <a:off x="2908334" y="3041283"/>
            <a:ext cx="4028516" cy="1653402"/>
          </a:xfrm>
          <a:prstGeom prst="roundRect">
            <a:avLst>
              <a:gd name="adj" fmla="val 0"/>
            </a:avLst>
          </a:prstGeom>
          <a:solidFill>
            <a:schemeClr val="tx2"/>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8"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6" name="Picture Placeholder 25"/>
          <p:cNvSpPr>
            <a:spLocks noGrp="1"/>
          </p:cNvSpPr>
          <p:nvPr>
            <p:ph type="pic" sz="quarter" idx="10" hasCustomPrompt="1"/>
          </p:nvPr>
        </p:nvSpPr>
        <p:spPr>
          <a:xfrm>
            <a:off x="320824"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8" y="1664069"/>
            <a:ext cx="1806573" cy="2010520"/>
          </a:xfrm>
          <a:prstGeom prst="roundRect">
            <a:avLst>
              <a:gd name="adj" fmla="val 0"/>
            </a:avLst>
          </a:prstGeom>
          <a:solidFill>
            <a:schemeClr val="accent4"/>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4" y="298818"/>
            <a:ext cx="3272751" cy="266065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19" name="Text Placeholder 4"/>
          <p:cNvSpPr>
            <a:spLocks noGrp="1"/>
          </p:cNvSpPr>
          <p:nvPr>
            <p:ph type="body" sz="quarter" idx="17"/>
          </p:nvPr>
        </p:nvSpPr>
        <p:spPr>
          <a:xfrm>
            <a:off x="3676536" y="298819"/>
            <a:ext cx="3260314" cy="2660651"/>
          </a:xfrm>
          <a:prstGeom prst="roundRect">
            <a:avLst>
              <a:gd name="adj" fmla="val 0"/>
            </a:avLst>
          </a:prstGeom>
          <a:noFill/>
          <a:ln>
            <a:noFill/>
          </a:ln>
          <a:effectLst/>
        </p:spPr>
        <p:txBody>
          <a:bodyPr anchor="ctr"/>
          <a:lstStyle>
            <a:lvl1pPr algn="l">
              <a:defRPr sz="2400">
                <a:solidFill>
                  <a:schemeClr val="bg1"/>
                </a:solidFill>
                <a:effectLst/>
                <a:latin typeface="Arial"/>
                <a:cs typeface="Arial"/>
              </a:defRPr>
            </a:lvl1pPr>
            <a:lvl2pPr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0" y="298819"/>
            <a:ext cx="1816262" cy="1275722"/>
          </a:xfrm>
          <a:prstGeom prst="roundRect">
            <a:avLst>
              <a:gd name="adj" fmla="val 0"/>
            </a:avLst>
          </a:prstGeom>
          <a:solidFill>
            <a:schemeClr val="bg2"/>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8" y="3756641"/>
            <a:ext cx="1806574" cy="951885"/>
          </a:xfrm>
          <a:prstGeom prst="roundRect">
            <a:avLst>
              <a:gd name="adj" fmla="val 0"/>
            </a:avLst>
          </a:prstGeom>
          <a:solidFill>
            <a:schemeClr val="accent3"/>
          </a:solidFill>
          <a:ln>
            <a:noFill/>
          </a:ln>
          <a:effectLst/>
        </p:spPr>
        <p:txBody>
          <a:bodyPr anchor="ctr"/>
          <a:lstStyle>
            <a:lvl1pPr algn="ctr">
              <a:defRPr sz="1600">
                <a:solidFill>
                  <a:srgbClr val="455565"/>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2"/>
            <a:ext cx="2522984" cy="1669033"/>
          </a:xfrm>
          <a:prstGeom prst="roundRect">
            <a:avLst>
              <a:gd name="adj" fmla="val 0"/>
            </a:avLst>
          </a:prstGeom>
          <a:solidFill>
            <a:schemeClr val="accent2"/>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4" y="3719719"/>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7002300" y="2694672"/>
            <a:ext cx="181626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320824" y="1982646"/>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85529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55565"/>
              </a:solidFill>
              <a:latin typeface="Arial"/>
            </a:endParaRPr>
          </a:p>
        </p:txBody>
      </p:sp>
      <p:sp>
        <p:nvSpPr>
          <p:cNvPr id="28" name="Picture Placeholder 25"/>
          <p:cNvSpPr>
            <a:spLocks noGrp="1"/>
          </p:cNvSpPr>
          <p:nvPr>
            <p:ph type="pic" sz="quarter" idx="22" hasCustomPrompt="1"/>
          </p:nvPr>
        </p:nvSpPr>
        <p:spPr>
          <a:xfrm>
            <a:off x="2908334" y="3041283"/>
            <a:ext cx="4028516" cy="1653402"/>
          </a:xfrm>
          <a:prstGeom prst="roundRect">
            <a:avLst>
              <a:gd name="adj" fmla="val 0"/>
            </a:avLst>
          </a:prstGeom>
          <a:solidFill>
            <a:schemeClr val="accent5"/>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8"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55565"/>
              </a:solidFill>
              <a:latin typeface="Arial"/>
            </a:endParaRPr>
          </a:p>
        </p:txBody>
      </p:sp>
      <p:sp>
        <p:nvSpPr>
          <p:cNvPr id="6" name="Picture Placeholder 25"/>
          <p:cNvSpPr>
            <a:spLocks noGrp="1"/>
          </p:cNvSpPr>
          <p:nvPr>
            <p:ph type="pic" sz="quarter" idx="10" hasCustomPrompt="1"/>
          </p:nvPr>
        </p:nvSpPr>
        <p:spPr>
          <a:xfrm>
            <a:off x="320824"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455565"/>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8" y="1664069"/>
            <a:ext cx="1806573" cy="2010520"/>
          </a:xfrm>
          <a:prstGeom prst="roundRect">
            <a:avLst>
              <a:gd name="adj" fmla="val 0"/>
            </a:avLst>
          </a:prstGeom>
          <a:solidFill>
            <a:schemeClr val="tx2"/>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4" y="298818"/>
            <a:ext cx="3272751" cy="2660652"/>
          </a:xfrm>
          <a:prstGeom prst="roundRect">
            <a:avLst>
              <a:gd name="adj" fmla="val 0"/>
            </a:avLst>
          </a:prstGeom>
          <a:solidFill>
            <a:schemeClr val="bg2"/>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55565"/>
              </a:solidFill>
              <a:latin typeface="Arial"/>
            </a:endParaRPr>
          </a:p>
        </p:txBody>
      </p:sp>
      <p:sp>
        <p:nvSpPr>
          <p:cNvPr id="19" name="Text Placeholder 4"/>
          <p:cNvSpPr>
            <a:spLocks noGrp="1"/>
          </p:cNvSpPr>
          <p:nvPr>
            <p:ph type="body" sz="quarter" idx="17"/>
          </p:nvPr>
        </p:nvSpPr>
        <p:spPr>
          <a:xfrm>
            <a:off x="3676536" y="298819"/>
            <a:ext cx="3260314" cy="2660651"/>
          </a:xfrm>
          <a:prstGeom prst="roundRect">
            <a:avLst>
              <a:gd name="adj" fmla="val 0"/>
            </a:avLst>
          </a:prstGeom>
          <a:noFill/>
          <a:ln>
            <a:noFill/>
          </a:ln>
          <a:effectLst/>
        </p:spPr>
        <p:txBody>
          <a:bodyPr anchor="ctr"/>
          <a:lstStyle>
            <a:lvl1pPr marL="179388" indent="0" algn="l">
              <a:tabLst>
                <a:tab pos="87313" algn="l"/>
              </a:tabLst>
              <a:defRPr sz="2400">
                <a:solidFill>
                  <a:schemeClr val="bg1"/>
                </a:solidFill>
                <a:effectLst/>
                <a:latin typeface="Arial"/>
                <a:cs typeface="Arial"/>
              </a:defRPr>
            </a:lvl1pPr>
            <a:lvl2pPr marL="358775" indent="-179388"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0" y="298819"/>
            <a:ext cx="1816262" cy="1275722"/>
          </a:xfrm>
          <a:prstGeom prst="roundRect">
            <a:avLst>
              <a:gd name="adj" fmla="val 0"/>
            </a:avLst>
          </a:prstGeom>
          <a:solidFill>
            <a:schemeClr val="tx1"/>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8" y="3756641"/>
            <a:ext cx="1806574" cy="951885"/>
          </a:xfrm>
          <a:prstGeom prst="roundRect">
            <a:avLst>
              <a:gd name="adj" fmla="val 0"/>
            </a:avLst>
          </a:prstGeom>
          <a:solidFill>
            <a:schemeClr val="tx1"/>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2"/>
            <a:ext cx="2522984" cy="1669033"/>
          </a:xfrm>
          <a:prstGeom prst="roundRect">
            <a:avLst>
              <a:gd name="adj" fmla="val 0"/>
            </a:avLst>
          </a:prstGeom>
          <a:solidFill>
            <a:schemeClr val="accent3"/>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4" y="3719719"/>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6" name="Text Placeholder 4"/>
          <p:cNvSpPr>
            <a:spLocks noGrp="1"/>
          </p:cNvSpPr>
          <p:nvPr>
            <p:ph type="body" sz="quarter" idx="21"/>
          </p:nvPr>
        </p:nvSpPr>
        <p:spPr>
          <a:xfrm>
            <a:off x="7002300" y="2694672"/>
            <a:ext cx="1816261" cy="982945"/>
          </a:xfrm>
          <a:prstGeom prst="roundRect">
            <a:avLst>
              <a:gd name="adj" fmla="val 0"/>
            </a:avLst>
          </a:prstGeom>
          <a:noFill/>
          <a:ln>
            <a:noFill/>
          </a:ln>
          <a:effectLst/>
        </p:spPr>
        <p:txBody>
          <a:bodyPr anchor="ctr"/>
          <a:lstStyle>
            <a:lvl1pPr algn="ctr">
              <a:defRPr sz="1600">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9" name="Text Placeholder 4"/>
          <p:cNvSpPr>
            <a:spLocks noGrp="1"/>
          </p:cNvSpPr>
          <p:nvPr>
            <p:ph type="body" sz="quarter" idx="23"/>
          </p:nvPr>
        </p:nvSpPr>
        <p:spPr>
          <a:xfrm>
            <a:off x="320824" y="1982646"/>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8977442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D_custom_layout_images_grey_background">
    <p:bg>
      <p:bgPr>
        <a:solidFill>
          <a:srgbClr val="000000"/>
        </a:solidFill>
        <a:effectLst/>
      </p:bgPr>
    </p:bg>
    <p:spTree>
      <p:nvGrpSpPr>
        <p:cNvPr id="1" name=""/>
        <p:cNvGrpSpPr/>
        <p:nvPr/>
      </p:nvGrpSpPr>
      <p:grpSpPr>
        <a:xfrm>
          <a:off x="0" y="0"/>
          <a:ext cx="0" cy="0"/>
          <a:chOff x="0" y="0"/>
          <a:chExt cx="0" cy="0"/>
        </a:xfrm>
      </p:grpSpPr>
      <p:sp>
        <p:nvSpPr>
          <p:cNvPr id="15" name="Rounded Rectangle 14"/>
          <p:cNvSpPr/>
          <p:nvPr userDrawn="1"/>
        </p:nvSpPr>
        <p:spPr>
          <a:xfrm>
            <a:off x="7011988" y="3752258"/>
            <a:ext cx="1806574" cy="942427"/>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10" name="Picture Placeholder 25"/>
          <p:cNvSpPr>
            <a:spLocks noGrp="1"/>
          </p:cNvSpPr>
          <p:nvPr>
            <p:ph type="pic" sz="quarter" idx="13" hasCustomPrompt="1"/>
          </p:nvPr>
        </p:nvSpPr>
        <p:spPr>
          <a:xfrm>
            <a:off x="320824" y="3041283"/>
            <a:ext cx="2516104"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1" name="Rounded Rectangle 10"/>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13" name="Rounded Rectangle 12"/>
          <p:cNvSpPr/>
          <p:nvPr userDrawn="1"/>
        </p:nvSpPr>
        <p:spPr>
          <a:xfrm>
            <a:off x="7011988"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6" name="Picture Placeholder 25"/>
          <p:cNvSpPr>
            <a:spLocks noGrp="1"/>
          </p:cNvSpPr>
          <p:nvPr>
            <p:ph type="pic" sz="quarter" idx="10" hasCustomPrompt="1"/>
          </p:nvPr>
        </p:nvSpPr>
        <p:spPr>
          <a:xfrm>
            <a:off x="320824"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4" name="Picture Placeholder 25"/>
          <p:cNvSpPr>
            <a:spLocks noGrp="1"/>
          </p:cNvSpPr>
          <p:nvPr>
            <p:ph type="pic" sz="quarter" idx="11" hasCustomPrompt="1"/>
          </p:nvPr>
        </p:nvSpPr>
        <p:spPr>
          <a:xfrm>
            <a:off x="3668989" y="298818"/>
            <a:ext cx="326786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7" name="Rounded Rectangle 6"/>
          <p:cNvSpPr/>
          <p:nvPr userDrawn="1"/>
        </p:nvSpPr>
        <p:spPr>
          <a:xfrm>
            <a:off x="7011988" y="298818"/>
            <a:ext cx="1806574" cy="1308101"/>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16" name="Picture Placeholder 25"/>
          <p:cNvSpPr>
            <a:spLocks noGrp="1"/>
          </p:cNvSpPr>
          <p:nvPr>
            <p:ph type="pic" sz="quarter" idx="16" hasCustomPrompt="1"/>
          </p:nvPr>
        </p:nvSpPr>
        <p:spPr>
          <a:xfrm>
            <a:off x="7011988" y="3752258"/>
            <a:ext cx="1806573" cy="942427"/>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2" name="Picture Placeholder 25"/>
          <p:cNvSpPr>
            <a:spLocks noGrp="1"/>
          </p:cNvSpPr>
          <p:nvPr>
            <p:ph type="pic" sz="quarter" idx="14" hasCustomPrompt="1"/>
          </p:nvPr>
        </p:nvSpPr>
        <p:spPr>
          <a:xfrm>
            <a:off x="2908334" y="3041283"/>
            <a:ext cx="4028516"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8" y="1664069"/>
            <a:ext cx="1806573" cy="2010520"/>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3" name="Rounded Rectangle 2"/>
          <p:cNvSpPr/>
          <p:nvPr userDrawn="1"/>
        </p:nvSpPr>
        <p:spPr>
          <a:xfrm>
            <a:off x="3668713" y="298818"/>
            <a:ext cx="3268136" cy="266065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5" name="Rounded Rectangle 4"/>
          <p:cNvSpPr/>
          <p:nvPr userDrawn="1"/>
        </p:nvSpPr>
        <p:spPr>
          <a:xfrm>
            <a:off x="320824" y="298818"/>
            <a:ext cx="3272751" cy="266065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9" name="Rounded Rectangle 8"/>
          <p:cNvSpPr/>
          <p:nvPr userDrawn="1"/>
        </p:nvSpPr>
        <p:spPr>
          <a:xfrm>
            <a:off x="334963" y="3041283"/>
            <a:ext cx="2501965"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ndParaRPr>
          </a:p>
        </p:txBody>
      </p:sp>
      <p:sp>
        <p:nvSpPr>
          <p:cNvPr id="8" name="Picture Placeholder 25"/>
          <p:cNvSpPr>
            <a:spLocks noGrp="1"/>
          </p:cNvSpPr>
          <p:nvPr>
            <p:ph type="pic" sz="quarter" idx="12" hasCustomPrompt="1"/>
          </p:nvPr>
        </p:nvSpPr>
        <p:spPr>
          <a:xfrm>
            <a:off x="7011988" y="298818"/>
            <a:ext cx="1806573" cy="1308101"/>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Tree>
    <p:extLst>
      <p:ext uri="{BB962C8B-B14F-4D97-AF65-F5344CB8AC3E}">
        <p14:creationId xmlns:p14="http://schemas.microsoft.com/office/powerpoint/2010/main" val="4026287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D_custom_layout_images_white_background">
    <p:spTree>
      <p:nvGrpSpPr>
        <p:cNvPr id="1" name=""/>
        <p:cNvGrpSpPr/>
        <p:nvPr/>
      </p:nvGrpSpPr>
      <p:grpSpPr>
        <a:xfrm>
          <a:off x="0" y="0"/>
          <a:ext cx="0" cy="0"/>
          <a:chOff x="0" y="0"/>
          <a:chExt cx="0" cy="0"/>
        </a:xfrm>
      </p:grpSpPr>
      <p:sp>
        <p:nvSpPr>
          <p:cNvPr id="3" name="Rounded Rectangle 2"/>
          <p:cNvSpPr/>
          <p:nvPr userDrawn="1"/>
        </p:nvSpPr>
        <p:spPr>
          <a:xfrm>
            <a:off x="3668713" y="298818"/>
            <a:ext cx="3268136" cy="266065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5" name="Rounded Rectangle 4"/>
          <p:cNvSpPr/>
          <p:nvPr userDrawn="1"/>
        </p:nvSpPr>
        <p:spPr>
          <a:xfrm>
            <a:off x="320824" y="298818"/>
            <a:ext cx="3272751" cy="266065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9" name="Rounded Rectangle 8"/>
          <p:cNvSpPr/>
          <p:nvPr userDrawn="1"/>
        </p:nvSpPr>
        <p:spPr>
          <a:xfrm>
            <a:off x="334963" y="3041283"/>
            <a:ext cx="2501965" cy="165340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15" name="Rounded Rectangle 14"/>
          <p:cNvSpPr/>
          <p:nvPr userDrawn="1"/>
        </p:nvSpPr>
        <p:spPr>
          <a:xfrm>
            <a:off x="7011988" y="3752258"/>
            <a:ext cx="1806574" cy="942427"/>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10" name="Picture Placeholder 25"/>
          <p:cNvSpPr>
            <a:spLocks noGrp="1"/>
          </p:cNvSpPr>
          <p:nvPr>
            <p:ph type="pic" sz="quarter" idx="13" hasCustomPrompt="1"/>
          </p:nvPr>
        </p:nvSpPr>
        <p:spPr>
          <a:xfrm>
            <a:off x="320824" y="3041283"/>
            <a:ext cx="2516104"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1" name="Rounded Rectangle 10"/>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13" name="Rounded Rectangle 12"/>
          <p:cNvSpPr/>
          <p:nvPr userDrawn="1"/>
        </p:nvSpPr>
        <p:spPr>
          <a:xfrm>
            <a:off x="7011988"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6" name="Picture Placeholder 25"/>
          <p:cNvSpPr>
            <a:spLocks noGrp="1"/>
          </p:cNvSpPr>
          <p:nvPr>
            <p:ph type="pic" sz="quarter" idx="10" hasCustomPrompt="1"/>
          </p:nvPr>
        </p:nvSpPr>
        <p:spPr>
          <a:xfrm>
            <a:off x="320824"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4" name="Picture Placeholder 25"/>
          <p:cNvSpPr>
            <a:spLocks noGrp="1"/>
          </p:cNvSpPr>
          <p:nvPr>
            <p:ph type="pic" sz="quarter" idx="11" hasCustomPrompt="1"/>
          </p:nvPr>
        </p:nvSpPr>
        <p:spPr>
          <a:xfrm>
            <a:off x="3668989" y="298818"/>
            <a:ext cx="326786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7" name="Rounded Rectangle 6"/>
          <p:cNvSpPr/>
          <p:nvPr userDrawn="1"/>
        </p:nvSpPr>
        <p:spPr>
          <a:xfrm>
            <a:off x="7011988" y="298818"/>
            <a:ext cx="1806574" cy="1308101"/>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16" name="Picture Placeholder 25"/>
          <p:cNvSpPr>
            <a:spLocks noGrp="1"/>
          </p:cNvSpPr>
          <p:nvPr>
            <p:ph type="pic" sz="quarter" idx="16" hasCustomPrompt="1"/>
          </p:nvPr>
        </p:nvSpPr>
        <p:spPr>
          <a:xfrm>
            <a:off x="7011988" y="3752258"/>
            <a:ext cx="1806573" cy="942427"/>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2" name="Picture Placeholder 25"/>
          <p:cNvSpPr>
            <a:spLocks noGrp="1"/>
          </p:cNvSpPr>
          <p:nvPr>
            <p:ph type="pic" sz="quarter" idx="14" hasCustomPrompt="1"/>
          </p:nvPr>
        </p:nvSpPr>
        <p:spPr>
          <a:xfrm>
            <a:off x="2908334" y="3041283"/>
            <a:ext cx="4028516" cy="1653402"/>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8" y="1664069"/>
            <a:ext cx="1806573" cy="2010520"/>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8" name="Picture Placeholder 25"/>
          <p:cNvSpPr>
            <a:spLocks noGrp="1"/>
          </p:cNvSpPr>
          <p:nvPr>
            <p:ph type="pic" sz="quarter" idx="12" hasCustomPrompt="1"/>
          </p:nvPr>
        </p:nvSpPr>
        <p:spPr>
          <a:xfrm>
            <a:off x="7011988" y="298818"/>
            <a:ext cx="1806573" cy="1308101"/>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Tree>
    <p:extLst>
      <p:ext uri="{BB962C8B-B14F-4D97-AF65-F5344CB8AC3E}">
        <p14:creationId xmlns:p14="http://schemas.microsoft.com/office/powerpoint/2010/main" val="35774274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968820"/>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19" y="127000"/>
            <a:ext cx="78508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5" name="Picture 4">
            <a:extLst>
              <a:ext uri="{FF2B5EF4-FFF2-40B4-BE49-F238E27FC236}">
                <a16:creationId xmlns:a16="http://schemas.microsoft.com/office/drawing/2014/main" id="{DB188305-B368-8A47-87DB-6C7CE923766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 y="4051300"/>
            <a:ext cx="9144000" cy="1092200"/>
          </a:xfrm>
          <a:prstGeom prst="rect">
            <a:avLst/>
          </a:prstGeom>
        </p:spPr>
      </p:pic>
      <p:pic>
        <p:nvPicPr>
          <p:cNvPr id="7" name="Picture 6">
            <a:extLst>
              <a:ext uri="{FF2B5EF4-FFF2-40B4-BE49-F238E27FC236}">
                <a16:creationId xmlns:a16="http://schemas.microsoft.com/office/drawing/2014/main" id="{A60119B8-7A29-494A-998B-26822301EDEB}"/>
              </a:ext>
            </a:extLst>
          </p:cNvPr>
          <p:cNvPicPr>
            <a:picLocks noChangeAspect="1"/>
          </p:cNvPicPr>
          <p:nvPr userDrawn="1"/>
        </p:nvPicPr>
        <p:blipFill rotWithShape="1">
          <a:blip r:embed="rId3"/>
          <a:srcRect r="50925"/>
          <a:stretch/>
        </p:blipFill>
        <p:spPr>
          <a:xfrm>
            <a:off x="8692767" y="127000"/>
            <a:ext cx="451233" cy="456284"/>
          </a:xfrm>
          <a:prstGeom prst="rect">
            <a:avLst/>
          </a:prstGeom>
        </p:spPr>
      </p:pic>
    </p:spTree>
    <p:extLst>
      <p:ext uri="{BB962C8B-B14F-4D97-AF65-F5344CB8AC3E}">
        <p14:creationId xmlns:p14="http://schemas.microsoft.com/office/powerpoint/2010/main" val="18519202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DD_cover_page_with_image.02">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786"/>
            <a:ext cx="9144000" cy="5144285"/>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 name="connsiteX0" fmla="*/ 0 w 9144000"/>
              <a:gd name="connsiteY0" fmla="*/ 0 h 5143500"/>
              <a:gd name="connsiteX1" fmla="*/ 7370137 w 9144000"/>
              <a:gd name="connsiteY1" fmla="*/ 0 h 5143500"/>
              <a:gd name="connsiteX2" fmla="*/ 9144000 w 9144000"/>
              <a:gd name="connsiteY2" fmla="*/ 0 h 5143500"/>
              <a:gd name="connsiteX3" fmla="*/ 9144000 w 9144000"/>
              <a:gd name="connsiteY3" fmla="*/ 5143500 h 5143500"/>
              <a:gd name="connsiteX4" fmla="*/ 0 w 9144000"/>
              <a:gd name="connsiteY4" fmla="*/ 5143500 h 5143500"/>
              <a:gd name="connsiteX5" fmla="*/ 0 w 9144000"/>
              <a:gd name="connsiteY5" fmla="*/ 0 h 5143500"/>
              <a:gd name="connsiteX0" fmla="*/ 0 w 9144000"/>
              <a:gd name="connsiteY0" fmla="*/ 7135 h 5150635"/>
              <a:gd name="connsiteX1" fmla="*/ 7370137 w 9144000"/>
              <a:gd name="connsiteY1" fmla="*/ 7135 h 5150635"/>
              <a:gd name="connsiteX2" fmla="*/ 8811345 w 9144000"/>
              <a:gd name="connsiteY2" fmla="*/ 0 h 5150635"/>
              <a:gd name="connsiteX3" fmla="*/ 9144000 w 9144000"/>
              <a:gd name="connsiteY3" fmla="*/ 7135 h 5150635"/>
              <a:gd name="connsiteX4" fmla="*/ 9144000 w 9144000"/>
              <a:gd name="connsiteY4" fmla="*/ 5150635 h 5150635"/>
              <a:gd name="connsiteX5" fmla="*/ 0 w 9144000"/>
              <a:gd name="connsiteY5" fmla="*/ 5150635 h 5150635"/>
              <a:gd name="connsiteX6" fmla="*/ 0 w 9144000"/>
              <a:gd name="connsiteY6" fmla="*/ 7135 h 5150635"/>
              <a:gd name="connsiteX0" fmla="*/ 0 w 9144000"/>
              <a:gd name="connsiteY0" fmla="*/ 14269 h 5157769"/>
              <a:gd name="connsiteX1" fmla="*/ 7370137 w 9144000"/>
              <a:gd name="connsiteY1" fmla="*/ 14269 h 5157769"/>
              <a:gd name="connsiteX2" fmla="*/ 8212031 w 9144000"/>
              <a:gd name="connsiteY2" fmla="*/ 0 h 5157769"/>
              <a:gd name="connsiteX3" fmla="*/ 8811345 w 9144000"/>
              <a:gd name="connsiteY3" fmla="*/ 7134 h 5157769"/>
              <a:gd name="connsiteX4" fmla="*/ 9144000 w 9144000"/>
              <a:gd name="connsiteY4" fmla="*/ 14269 h 5157769"/>
              <a:gd name="connsiteX5" fmla="*/ 9144000 w 9144000"/>
              <a:gd name="connsiteY5" fmla="*/ 5157769 h 5157769"/>
              <a:gd name="connsiteX6" fmla="*/ 0 w 9144000"/>
              <a:gd name="connsiteY6" fmla="*/ 5157769 h 5157769"/>
              <a:gd name="connsiteX7" fmla="*/ 0 w 9144000"/>
              <a:gd name="connsiteY7" fmla="*/ 14269 h 5157769"/>
              <a:gd name="connsiteX0" fmla="*/ 0 w 9144000"/>
              <a:gd name="connsiteY0" fmla="*/ 7135 h 5150635"/>
              <a:gd name="connsiteX1" fmla="*/ 7370137 w 9144000"/>
              <a:gd name="connsiteY1" fmla="*/ 7135 h 5150635"/>
              <a:gd name="connsiteX2" fmla="*/ 8818480 w 9144000"/>
              <a:gd name="connsiteY2" fmla="*/ 1940742 h 5150635"/>
              <a:gd name="connsiteX3" fmla="*/ 8811345 w 9144000"/>
              <a:gd name="connsiteY3" fmla="*/ 0 h 5150635"/>
              <a:gd name="connsiteX4" fmla="*/ 9144000 w 9144000"/>
              <a:gd name="connsiteY4" fmla="*/ 7135 h 5150635"/>
              <a:gd name="connsiteX5" fmla="*/ 9144000 w 9144000"/>
              <a:gd name="connsiteY5" fmla="*/ 5150635 h 5150635"/>
              <a:gd name="connsiteX6" fmla="*/ 0 w 9144000"/>
              <a:gd name="connsiteY6" fmla="*/ 5150635 h 5150635"/>
              <a:gd name="connsiteX7" fmla="*/ 0 w 9144000"/>
              <a:gd name="connsiteY7" fmla="*/ 7135 h 5150635"/>
              <a:gd name="connsiteX0" fmla="*/ 0 w 9144000"/>
              <a:gd name="connsiteY0" fmla="*/ 785 h 5144285"/>
              <a:gd name="connsiteX1" fmla="*/ 7370137 w 9144000"/>
              <a:gd name="connsiteY1" fmla="*/ 785 h 5144285"/>
              <a:gd name="connsiteX2" fmla="*/ 8818480 w 9144000"/>
              <a:gd name="connsiteY2" fmla="*/ 1934392 h 5144285"/>
              <a:gd name="connsiteX3" fmla="*/ 8814520 w 9144000"/>
              <a:gd name="connsiteY3" fmla="*/ 0 h 5144285"/>
              <a:gd name="connsiteX4" fmla="*/ 9144000 w 9144000"/>
              <a:gd name="connsiteY4" fmla="*/ 785 h 5144285"/>
              <a:gd name="connsiteX5" fmla="*/ 9144000 w 9144000"/>
              <a:gd name="connsiteY5" fmla="*/ 5144285 h 5144285"/>
              <a:gd name="connsiteX6" fmla="*/ 0 w 9144000"/>
              <a:gd name="connsiteY6" fmla="*/ 5144285 h 5144285"/>
              <a:gd name="connsiteX7" fmla="*/ 0 w 9144000"/>
              <a:gd name="connsiteY7" fmla="*/ 785 h 5144285"/>
              <a:gd name="connsiteX0" fmla="*/ 0 w 9144000"/>
              <a:gd name="connsiteY0" fmla="*/ 785 h 5144285"/>
              <a:gd name="connsiteX1" fmla="*/ 7370137 w 9144000"/>
              <a:gd name="connsiteY1" fmla="*/ 785 h 5144285"/>
              <a:gd name="connsiteX2" fmla="*/ 8115300 w 9144000"/>
              <a:gd name="connsiteY2" fmla="*/ 1000911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66000 w 9144000"/>
              <a:gd name="connsiteY2" fmla="*/ 1934361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75974 w 9144000"/>
              <a:gd name="connsiteY2" fmla="*/ 1937686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75974 w 9144000"/>
              <a:gd name="connsiteY2" fmla="*/ 1931037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4285">
                <a:moveTo>
                  <a:pt x="0" y="785"/>
                </a:moveTo>
                <a:lnTo>
                  <a:pt x="7370137" y="785"/>
                </a:lnTo>
                <a:cubicBezTo>
                  <a:pt x="7372083" y="646419"/>
                  <a:pt x="7374028" y="1285403"/>
                  <a:pt x="7375974" y="1931037"/>
                </a:cubicBezTo>
                <a:lnTo>
                  <a:pt x="8818480" y="1934392"/>
                </a:lnTo>
                <a:cubicBezTo>
                  <a:pt x="8816102" y="1287478"/>
                  <a:pt x="8816898" y="646914"/>
                  <a:pt x="8814520" y="0"/>
                </a:cubicBezTo>
                <a:lnTo>
                  <a:pt x="9144000" y="785"/>
                </a:lnTo>
                <a:lnTo>
                  <a:pt x="9144000" y="5144285"/>
                </a:lnTo>
                <a:lnTo>
                  <a:pt x="0" y="5144285"/>
                </a:lnTo>
                <a:lnTo>
                  <a:pt x="0" y="785"/>
                </a:lnTo>
                <a:close/>
              </a:path>
            </a:pathLst>
          </a:custGeom>
        </p:spPr>
        <p:txBody>
          <a:bodyPr vert="horz"/>
          <a:lstStyle>
            <a:lvl1pPr marL="0" marR="0" indent="0" algn="l" defTabSz="914400" rtl="0" eaLnBrk="1" fontAlgn="auto" latinLnBrk="0" hangingPunct="1">
              <a:lnSpc>
                <a:spcPct val="114000"/>
              </a:lnSpc>
              <a:spcBef>
                <a:spcPts val="600"/>
              </a:spcBef>
              <a:spcAft>
                <a:spcPts val="100"/>
              </a:spcAft>
              <a:buClrTx/>
              <a:buSzTx/>
              <a:buFont typeface="Arial" pitchFamily="34" charset="0"/>
              <a:buNone/>
              <a:tabLst/>
              <a:defRPr>
                <a:latin typeface="Arial"/>
              </a:defRPr>
            </a:lvl1pPr>
          </a:lstStyle>
          <a:p>
            <a:r>
              <a:rPr lang="en-US"/>
              <a:t>	</a:t>
            </a:r>
          </a:p>
          <a:p>
            <a:endParaRPr lang="en-US"/>
          </a:p>
          <a:p>
            <a:r>
              <a:rPr lang="en-US"/>
              <a:t>	Drag picture to placeholder or click icon to add</a:t>
            </a:r>
          </a:p>
          <a:p>
            <a:endParaRPr lang="en-US"/>
          </a:p>
        </p:txBody>
      </p:sp>
      <p:pic>
        <p:nvPicPr>
          <p:cNvPr id="3" name="Picture 2"/>
          <p:cNvPicPr>
            <a:picLocks noChangeAspect="1"/>
          </p:cNvPicPr>
          <p:nvPr userDrawn="1"/>
        </p:nvPicPr>
        <p:blipFill>
          <a:blip r:embed="rId2"/>
          <a:stretch>
            <a:fillRect/>
          </a:stretch>
        </p:blipFill>
        <p:spPr>
          <a:xfrm>
            <a:off x="7365578" y="0"/>
            <a:ext cx="1455965" cy="1941286"/>
          </a:xfrm>
          <a:prstGeom prst="rect">
            <a:avLst/>
          </a:prstGeom>
        </p:spPr>
      </p:pic>
      <p:sp>
        <p:nvSpPr>
          <p:cNvPr id="12" name="Text Placeholder 53"/>
          <p:cNvSpPr>
            <a:spLocks noGrp="1"/>
          </p:cNvSpPr>
          <p:nvPr>
            <p:ph type="body" sz="quarter" idx="10" hasCustomPrompt="1"/>
          </p:nvPr>
        </p:nvSpPr>
        <p:spPr>
          <a:xfrm>
            <a:off x="977156" y="2734240"/>
            <a:ext cx="7662019" cy="384175"/>
          </a:xfrm>
          <a:prstGeom prst="rect">
            <a:avLst/>
          </a:prstGeom>
        </p:spPr>
        <p:txBody>
          <a:bodyPr vert="horz"/>
          <a:lstStyle>
            <a:lvl1pPr>
              <a:defRPr sz="1800" i="1">
                <a:solidFill>
                  <a:srgbClr val="455565"/>
                </a:solidFill>
                <a:latin typeface="Georgia"/>
                <a:cs typeface="Georgia"/>
              </a:defRPr>
            </a:lvl1pPr>
          </a:lstStyle>
          <a:p>
            <a:pPr lvl="0"/>
            <a:r>
              <a:rPr lang="en-US"/>
              <a:t>Sub-heading/ Speaker Name</a:t>
            </a:r>
          </a:p>
        </p:txBody>
      </p:sp>
      <p:sp>
        <p:nvSpPr>
          <p:cNvPr id="6" name="Text Placeholder 60"/>
          <p:cNvSpPr>
            <a:spLocks noGrp="1"/>
          </p:cNvSpPr>
          <p:nvPr>
            <p:ph type="body" sz="quarter" idx="11" hasCustomPrompt="1"/>
          </p:nvPr>
        </p:nvSpPr>
        <p:spPr>
          <a:xfrm>
            <a:off x="977156" y="3284942"/>
            <a:ext cx="7662019" cy="1299447"/>
          </a:xfrm>
          <a:prstGeom prst="rect">
            <a:avLst/>
          </a:prstGeom>
        </p:spPr>
        <p:txBody>
          <a:bodyPr vert="horz"/>
          <a:lstStyle>
            <a:lvl1pPr>
              <a:lnSpc>
                <a:spcPct val="80000"/>
              </a:lnSpc>
              <a:defRPr sz="4000" b="1" baseline="0">
                <a:solidFill>
                  <a:schemeClr val="tx1"/>
                </a:solidFill>
                <a:latin typeface="Arial"/>
                <a:cs typeface="Arial"/>
              </a:defRPr>
            </a:lvl1pPr>
          </a:lstStyle>
          <a:p>
            <a:pPr lvl="0"/>
            <a:r>
              <a:rPr lang="en-US"/>
              <a:t>Presentation Title</a:t>
            </a:r>
          </a:p>
        </p:txBody>
      </p:sp>
    </p:spTree>
    <p:extLst>
      <p:ext uri="{BB962C8B-B14F-4D97-AF65-F5344CB8AC3E}">
        <p14:creationId xmlns:p14="http://schemas.microsoft.com/office/powerpoint/2010/main" val="17060188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DD_title_and_content_page.03">
    <p:bg bwMode="ltGray">
      <p:bgPr>
        <a:solidFill>
          <a:schemeClr val="tx1">
            <a:lumMod val="7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615851C-47FD-A64B-BD01-26DE683220DE}"/>
              </a:ext>
            </a:extLst>
          </p:cNvPr>
          <p:cNvPicPr>
            <a:picLocks noChangeAspect="1"/>
          </p:cNvPicPr>
          <p:nvPr userDrawn="1"/>
        </p:nvPicPr>
        <p:blipFill>
          <a:blip r:embed="rId2" cstate="email">
            <a:alphaModFix amt="35000"/>
            <a:extLst>
              <a:ext uri="{28A0092B-C50C-407E-A947-70E740481C1C}">
                <a14:useLocalDpi xmlns:a14="http://schemas.microsoft.com/office/drawing/2010/main"/>
              </a:ext>
            </a:extLst>
          </a:blip>
          <a:stretch>
            <a:fillRect/>
          </a:stretch>
        </p:blipFill>
        <p:spPr>
          <a:xfrm>
            <a:off x="0" y="2780"/>
            <a:ext cx="9144000" cy="5140720"/>
          </a:xfrm>
          <a:prstGeom prst="rect">
            <a:avLst/>
          </a:prstGeom>
        </p:spPr>
      </p:pic>
    </p:spTree>
    <p:extLst>
      <p:ext uri="{BB962C8B-B14F-4D97-AF65-F5344CB8AC3E}">
        <p14:creationId xmlns:p14="http://schemas.microsoft.com/office/powerpoint/2010/main" val="264428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D_chapter_page_with_image.02">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81B96197-2011-E649-8786-2FCDFDD0283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ext Placeholder 7"/>
          <p:cNvSpPr>
            <a:spLocks noGrp="1"/>
          </p:cNvSpPr>
          <p:nvPr>
            <p:ph type="body" sz="quarter" idx="10" hasCustomPrompt="1"/>
          </p:nvPr>
        </p:nvSpPr>
        <p:spPr>
          <a:xfrm>
            <a:off x="220911" y="1287520"/>
            <a:ext cx="1516072" cy="365125"/>
          </a:xfrm>
          <a:prstGeom prst="rect">
            <a:avLst/>
          </a:prstGeom>
        </p:spPr>
        <p:txBody>
          <a:bodyPr vert="horz"/>
          <a:lstStyle>
            <a:lvl1pPr>
              <a:defRPr sz="1600" b="1">
                <a:solidFill>
                  <a:schemeClr val="accent3"/>
                </a:solidFill>
                <a:latin typeface="Arial"/>
                <a:cs typeface="Arial"/>
              </a:defRPr>
            </a:lvl1pPr>
          </a:lstStyle>
          <a:p>
            <a:pPr lvl="0"/>
            <a:r>
              <a:rPr lang="en-US" dirty="0"/>
              <a:t>01</a:t>
            </a:r>
          </a:p>
        </p:txBody>
      </p:sp>
      <p:sp>
        <p:nvSpPr>
          <p:cNvPr id="18" name="Text Placeholder 17"/>
          <p:cNvSpPr>
            <a:spLocks noGrp="1"/>
          </p:cNvSpPr>
          <p:nvPr>
            <p:ph type="body" sz="quarter" idx="11"/>
          </p:nvPr>
        </p:nvSpPr>
        <p:spPr>
          <a:xfrm>
            <a:off x="220911" y="1795521"/>
            <a:ext cx="1516072" cy="2032963"/>
          </a:xfrm>
          <a:prstGeom prst="rect">
            <a:avLst/>
          </a:prstGeom>
        </p:spPr>
        <p:txBody>
          <a:bodyPr vert="horz"/>
          <a:lstStyle>
            <a:lvl1pPr>
              <a:lnSpc>
                <a:spcPct val="90000"/>
              </a:lnSpc>
              <a:defRPr sz="1200" b="1">
                <a:solidFill>
                  <a:srgbClr val="FFC000"/>
                </a:solidFill>
                <a:latin typeface="Arial"/>
                <a:cs typeface="Arial"/>
              </a:defRPr>
            </a:lvl1pPr>
            <a:lvl2pPr marL="3175" indent="0">
              <a:buNone/>
              <a:defRPr sz="12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a:p>
            <a:pPr lvl="1"/>
            <a:r>
              <a:rPr lang="en-US" dirty="0"/>
              <a:t>Xxx</a:t>
            </a:r>
          </a:p>
        </p:txBody>
      </p:sp>
      <p:sp>
        <p:nvSpPr>
          <p:cNvPr id="54" name="Text Placeholder 53"/>
          <p:cNvSpPr>
            <a:spLocks noGrp="1"/>
          </p:cNvSpPr>
          <p:nvPr>
            <p:ph type="body" sz="quarter" idx="12"/>
          </p:nvPr>
        </p:nvSpPr>
        <p:spPr>
          <a:xfrm>
            <a:off x="2180003" y="1889125"/>
            <a:ext cx="6042769" cy="2091030"/>
          </a:xfrm>
          <a:prstGeom prst="rect">
            <a:avLst/>
          </a:prstGeom>
        </p:spPr>
        <p:txBody>
          <a:bodyPr vert="horz"/>
          <a:lstStyle>
            <a:lvl1pPr>
              <a:defRPr sz="1600" i="0">
                <a:solidFill>
                  <a:schemeClr val="bg1"/>
                </a:solidFill>
                <a:latin typeface="Arial"/>
                <a:cs typeface="Arial"/>
              </a:defRPr>
            </a:lvl1pPr>
          </a:lstStyle>
          <a:p>
            <a:pPr lvl="0"/>
            <a:endParaRPr lang="en-US" dirty="0"/>
          </a:p>
        </p:txBody>
      </p:sp>
      <p:sp>
        <p:nvSpPr>
          <p:cNvPr id="55" name="Text Placeholder 60"/>
          <p:cNvSpPr>
            <a:spLocks noGrp="1"/>
          </p:cNvSpPr>
          <p:nvPr>
            <p:ph type="body" sz="quarter" idx="13" hasCustomPrompt="1"/>
          </p:nvPr>
        </p:nvSpPr>
        <p:spPr>
          <a:xfrm>
            <a:off x="2180003" y="1293817"/>
            <a:ext cx="6042769" cy="420683"/>
          </a:xfrm>
          <a:prstGeom prst="rect">
            <a:avLst/>
          </a:prstGeom>
        </p:spPr>
        <p:txBody>
          <a:bodyPr vert="horz"/>
          <a:lstStyle>
            <a:lvl1pPr>
              <a:lnSpc>
                <a:spcPct val="80000"/>
              </a:lnSpc>
              <a:defRPr sz="2100" b="1">
                <a:solidFill>
                  <a:schemeClr val="accent3"/>
                </a:solidFill>
                <a:latin typeface="Arial"/>
                <a:cs typeface="Arial"/>
              </a:defRPr>
            </a:lvl1pPr>
          </a:lstStyle>
          <a:p>
            <a:pPr lvl="0"/>
            <a:r>
              <a:rPr lang="en-US" dirty="0"/>
              <a:t>Heading</a:t>
            </a:r>
          </a:p>
        </p:txBody>
      </p:sp>
    </p:spTree>
    <p:extLst>
      <p:ext uri="{BB962C8B-B14F-4D97-AF65-F5344CB8AC3E}">
        <p14:creationId xmlns:p14="http://schemas.microsoft.com/office/powerpoint/2010/main" val="9670818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D_cover_page.01">
    <p:bg>
      <p:bgPr>
        <a:solidFill>
          <a:schemeClr val="accent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l="3971" t="19287" r="2922" b="27313"/>
          <a:stretch/>
        </p:blipFill>
        <p:spPr>
          <a:xfrm>
            <a:off x="-6136" y="1"/>
            <a:ext cx="9150135" cy="5152382"/>
          </a:xfrm>
          <a:prstGeom prst="rect">
            <a:avLst/>
          </a:prstGeom>
        </p:spPr>
      </p:pic>
      <p:sp>
        <p:nvSpPr>
          <p:cNvPr id="54" name="Text Placeholder 53"/>
          <p:cNvSpPr>
            <a:spLocks noGrp="1"/>
          </p:cNvSpPr>
          <p:nvPr>
            <p:ph type="body" sz="quarter" idx="10" hasCustomPrompt="1"/>
          </p:nvPr>
        </p:nvSpPr>
        <p:spPr>
          <a:xfrm>
            <a:off x="977157" y="2734241"/>
            <a:ext cx="7662019" cy="384175"/>
          </a:xfrm>
          <a:prstGeom prst="rect">
            <a:avLst/>
          </a:prstGeom>
        </p:spPr>
        <p:txBody>
          <a:bodyPr vert="horz"/>
          <a:lstStyle>
            <a:lvl1pPr>
              <a:defRPr sz="1800" i="1" baseline="0">
                <a:solidFill>
                  <a:srgbClr val="FFFFFF"/>
                </a:solidFill>
                <a:latin typeface="Georgia"/>
                <a:cs typeface="Georgia"/>
              </a:defRPr>
            </a:lvl1pPr>
          </a:lstStyle>
          <a:p>
            <a:pPr lvl="0"/>
            <a:r>
              <a:rPr lang="en-US" dirty="0"/>
              <a:t>Sub-heading/ Speaker Name</a:t>
            </a:r>
          </a:p>
        </p:txBody>
      </p:sp>
      <p:sp>
        <p:nvSpPr>
          <p:cNvPr id="61" name="Text Placeholder 60"/>
          <p:cNvSpPr>
            <a:spLocks noGrp="1"/>
          </p:cNvSpPr>
          <p:nvPr>
            <p:ph type="body" sz="quarter" idx="11" hasCustomPrompt="1"/>
          </p:nvPr>
        </p:nvSpPr>
        <p:spPr>
          <a:xfrm>
            <a:off x="977157" y="3284942"/>
            <a:ext cx="7662019" cy="1299447"/>
          </a:xfrm>
          <a:prstGeom prst="rect">
            <a:avLst/>
          </a:prstGeom>
        </p:spPr>
        <p:txBody>
          <a:bodyPr vert="horz"/>
          <a:lstStyle>
            <a:lvl1pPr>
              <a:lnSpc>
                <a:spcPct val="80000"/>
              </a:lnSpc>
              <a:defRPr sz="4000" b="1" baseline="0">
                <a:solidFill>
                  <a:schemeClr val="bg1"/>
                </a:solidFill>
                <a:latin typeface="Arial"/>
                <a:cs typeface="Arial"/>
              </a:defRPr>
            </a:lvl1pPr>
          </a:lstStyle>
          <a:p>
            <a:pPr lvl="0"/>
            <a:r>
              <a:rPr lang="en-US" dirty="0"/>
              <a:t>Presentation Title</a:t>
            </a:r>
          </a:p>
        </p:txBody>
      </p:sp>
    </p:spTree>
    <p:extLst>
      <p:ext uri="{BB962C8B-B14F-4D97-AF65-F5344CB8AC3E}">
        <p14:creationId xmlns:p14="http://schemas.microsoft.com/office/powerpoint/2010/main" val="16668475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1451781"/>
            <a:ext cx="8532155" cy="3154945"/>
          </a:xfrm>
          <a:prstGeom prst="rect">
            <a:avLst/>
          </a:prstGeom>
        </p:spPr>
        <p:txBody>
          <a:bodyPr/>
          <a:lstStyle>
            <a:lvl1pPr>
              <a:defRPr>
                <a:solidFill>
                  <a:srgbClr val="455565"/>
                </a:solidFill>
                <a:latin typeface="Arial"/>
                <a:cs typeface="Arial"/>
              </a:defRPr>
            </a:lvl1pPr>
            <a:lvl2pPr>
              <a:defRPr>
                <a:solidFill>
                  <a:srgbClr val="455565"/>
                </a:solidFill>
                <a:latin typeface="Arial"/>
                <a:cs typeface="Arial"/>
              </a:defRPr>
            </a:lvl2pPr>
            <a:lvl3pPr>
              <a:defRPr>
                <a:solidFill>
                  <a:srgbClr val="455565"/>
                </a:solidFill>
                <a:latin typeface="Arial"/>
                <a:cs typeface="Arial"/>
              </a:defRPr>
            </a:lvl3pPr>
            <a:lvl4pPr>
              <a:defRPr>
                <a:solidFill>
                  <a:srgbClr val="455565"/>
                </a:solidFill>
                <a:latin typeface="Arial"/>
                <a:cs typeface="Arial"/>
              </a:defRPr>
            </a:lvl4pPr>
            <a:lvl5pPr>
              <a:defRPr>
                <a:solidFill>
                  <a:srgbClr val="455565"/>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Title 1"/>
          <p:cNvSpPr>
            <a:spLocks noGrp="1"/>
          </p:cNvSpPr>
          <p:nvPr>
            <p:ph type="title"/>
          </p:nvPr>
        </p:nvSpPr>
        <p:spPr>
          <a:xfrm>
            <a:off x="297520" y="127000"/>
            <a:ext cx="7446383" cy="394595"/>
          </a:xfrm>
          <a:prstGeom prst="rect">
            <a:avLst/>
          </a:prstGeom>
        </p:spPr>
        <p:txBody>
          <a:bodyPr anchor="ctr"/>
          <a:lstStyle>
            <a:lvl1pPr>
              <a:defRPr sz="1800" b="0">
                <a:solidFill>
                  <a:srgbClr val="455565"/>
                </a:solidFill>
                <a:latin typeface="Arial"/>
                <a:cs typeface="Arial"/>
              </a:defRPr>
            </a:lvl1pPr>
          </a:lstStyle>
          <a:p>
            <a:r>
              <a:rPr lang="en-US" dirty="0"/>
              <a:t>Click to edit Master title style</a:t>
            </a:r>
            <a:endParaRPr lang="en-ZA" dirty="0"/>
          </a:p>
        </p:txBody>
      </p:sp>
      <p:sp>
        <p:nvSpPr>
          <p:cNvPr id="5" name="Text Placeholder 6"/>
          <p:cNvSpPr>
            <a:spLocks noGrp="1"/>
          </p:cNvSpPr>
          <p:nvPr>
            <p:ph type="body" sz="quarter" idx="12"/>
          </p:nvPr>
        </p:nvSpPr>
        <p:spPr>
          <a:xfrm>
            <a:off x="296865" y="594000"/>
            <a:ext cx="8532826" cy="285750"/>
          </a:xfrm>
          <a:prstGeom prst="rect">
            <a:avLst/>
          </a:prstGeom>
        </p:spPr>
        <p:txBody>
          <a:bodyPr/>
          <a:lstStyle>
            <a:lvl1pPr algn="l">
              <a:defRPr sz="1200" i="1">
                <a:solidFill>
                  <a:schemeClr val="tx1"/>
                </a:solidFill>
                <a:latin typeface="+mj-lt"/>
                <a:cs typeface="Georgia"/>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23220530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D_title_and_content_page.02">
    <p:bg bwMode="ltGray">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sp>
        <p:nvSpPr>
          <p:cNvPr id="5" name="Content Placeholder 2"/>
          <p:cNvSpPr>
            <a:spLocks noGrp="1"/>
          </p:cNvSpPr>
          <p:nvPr>
            <p:ph idx="1"/>
          </p:nvPr>
        </p:nvSpPr>
        <p:spPr>
          <a:xfrm>
            <a:off x="297521" y="1146769"/>
            <a:ext cx="8532155" cy="3581335"/>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5195596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3">
    <p:bg bwMode="ltGray">
      <p:bgPr>
        <a:solidFill>
          <a:schemeClr val="tx1">
            <a:lumMod val="75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rgbClr val="FFFFFF"/>
                </a:solidFill>
                <a:latin typeface="Arial"/>
                <a:cs typeface="Arial"/>
              </a:defRPr>
            </a:lvl1pPr>
          </a:lstStyle>
          <a:p>
            <a:r>
              <a:rPr lang="en-US" dirty="0"/>
              <a:t>Click to edit Master title style</a:t>
            </a:r>
            <a:endParaRPr lang="en-ZA" dirty="0"/>
          </a:p>
        </p:txBody>
      </p:sp>
      <p:sp>
        <p:nvSpPr>
          <p:cNvPr id="5" name="Content Placeholder 2"/>
          <p:cNvSpPr>
            <a:spLocks noGrp="1"/>
          </p:cNvSpPr>
          <p:nvPr>
            <p:ph idx="1"/>
          </p:nvPr>
        </p:nvSpPr>
        <p:spPr>
          <a:xfrm>
            <a:off x="297521" y="1146769"/>
            <a:ext cx="8532155" cy="35813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990679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D_chart_layout.02">
    <p:bg bwMode="ltGray">
      <p:bgPr>
        <a:solidFill>
          <a:schemeClr val="accent4">
            <a:lumMod val="75000"/>
          </a:schemeClr>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1" y="1146769"/>
            <a:ext cx="8532155"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Title 1"/>
          <p:cNvSpPr>
            <a:spLocks noGrp="1"/>
          </p:cNvSpPr>
          <p:nvPr>
            <p:ph type="title"/>
          </p:nvPr>
        </p:nvSpPr>
        <p:spPr>
          <a:xfrm>
            <a:off x="297521" y="127001"/>
            <a:ext cx="8532154" cy="595313"/>
          </a:xfrm>
          <a:prstGeom prst="rect">
            <a:avLst/>
          </a:prstGeom>
        </p:spPr>
        <p:txBody>
          <a:bodyPr anchor="ctr"/>
          <a:lstStyle>
            <a:lvl1pPr>
              <a:defRPr b="1">
                <a:solidFill>
                  <a:schemeClr val="bg1"/>
                </a:solidFill>
                <a:latin typeface="Arial"/>
                <a:cs typeface="Arial"/>
              </a:defRPr>
            </a:lvl1pPr>
          </a:lstStyle>
          <a:p>
            <a:r>
              <a:rPr lang="en-US" dirty="0"/>
              <a:t>Click to edit Master title style</a:t>
            </a:r>
            <a:endParaRPr lang="en-ZA" dirty="0"/>
          </a:p>
        </p:txBody>
      </p:sp>
      <p:sp>
        <p:nvSpPr>
          <p:cNvPr id="8" name="Text Placeholder 6"/>
          <p:cNvSpPr>
            <a:spLocks noGrp="1"/>
          </p:cNvSpPr>
          <p:nvPr>
            <p:ph type="body" sz="quarter" idx="12"/>
          </p:nvPr>
        </p:nvSpPr>
        <p:spPr>
          <a:xfrm>
            <a:off x="296864" y="756437"/>
            <a:ext cx="8532825" cy="285750"/>
          </a:xfrm>
          <a:prstGeom prst="rect">
            <a:avLst/>
          </a:prstGeom>
        </p:spPr>
        <p:txBody>
          <a:bodyPr/>
          <a:lstStyle>
            <a:lvl1pPr algn="ctr">
              <a:defRPr sz="1400" i="1">
                <a:solidFill>
                  <a:schemeClr val="bg1"/>
                </a:solidFill>
                <a:latin typeface="Georgia"/>
                <a:cs typeface="Georgia"/>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34169464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7" name="think-cell Slide" r:id="rId4" imgW="592" imgH="591" progId="TCLayout.ActiveDocument.1">
                  <p:embed/>
                </p:oleObj>
              </mc:Choice>
              <mc:Fallback>
                <p:oleObj name="think-cell Slide" r:id="rId4" imgW="592" imgH="591"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8" name="Text Placeholder 18"/>
          <p:cNvSpPr>
            <a:spLocks noGrp="1"/>
          </p:cNvSpPr>
          <p:nvPr>
            <p:ph idx="1"/>
          </p:nvPr>
        </p:nvSpPr>
        <p:spPr>
          <a:xfrm>
            <a:off x="352425" y="1249364"/>
            <a:ext cx="8439150" cy="347503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le 1"/>
          <p:cNvSpPr>
            <a:spLocks noGrp="1"/>
          </p:cNvSpPr>
          <p:nvPr>
            <p:ph type="title"/>
          </p:nvPr>
        </p:nvSpPr>
        <p:spPr>
          <a:xfrm>
            <a:off x="297520" y="127000"/>
            <a:ext cx="7446383" cy="394595"/>
          </a:xfrm>
          <a:prstGeom prst="rect">
            <a:avLst/>
          </a:prstGeom>
        </p:spPr>
        <p:txBody>
          <a:bodyPr anchor="ctr"/>
          <a:lstStyle>
            <a:lvl1pPr>
              <a:defRPr sz="1800" b="0">
                <a:solidFill>
                  <a:srgbClr val="455565"/>
                </a:solidFill>
                <a:latin typeface="Arial"/>
                <a:cs typeface="Arial"/>
              </a:defRPr>
            </a:lvl1pPr>
          </a:lstStyle>
          <a:p>
            <a:r>
              <a:rPr lang="en-US" dirty="0"/>
              <a:t>Click to edit Master title style</a:t>
            </a:r>
            <a:endParaRPr lang="en-ZA" dirty="0"/>
          </a:p>
        </p:txBody>
      </p:sp>
      <p:sp>
        <p:nvSpPr>
          <p:cNvPr id="10" name="Text Placeholder 6"/>
          <p:cNvSpPr>
            <a:spLocks noGrp="1"/>
          </p:cNvSpPr>
          <p:nvPr>
            <p:ph type="body" sz="quarter" idx="12"/>
          </p:nvPr>
        </p:nvSpPr>
        <p:spPr>
          <a:xfrm>
            <a:off x="296865" y="594000"/>
            <a:ext cx="8532826" cy="285750"/>
          </a:xfrm>
          <a:prstGeom prst="rect">
            <a:avLst/>
          </a:prstGeom>
        </p:spPr>
        <p:txBody>
          <a:bodyPr/>
          <a:lstStyle>
            <a:lvl1pPr algn="l">
              <a:defRPr sz="1200" i="1">
                <a:solidFill>
                  <a:schemeClr val="tx1"/>
                </a:solidFill>
                <a:latin typeface="+mj-lt"/>
                <a:cs typeface="Georgia"/>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105466281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DD_cover_page_with_image.02">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786"/>
            <a:ext cx="9144000" cy="5144285"/>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 name="connsiteX0" fmla="*/ 0 w 9144000"/>
              <a:gd name="connsiteY0" fmla="*/ 0 h 5143500"/>
              <a:gd name="connsiteX1" fmla="*/ 7370137 w 9144000"/>
              <a:gd name="connsiteY1" fmla="*/ 0 h 5143500"/>
              <a:gd name="connsiteX2" fmla="*/ 9144000 w 9144000"/>
              <a:gd name="connsiteY2" fmla="*/ 0 h 5143500"/>
              <a:gd name="connsiteX3" fmla="*/ 9144000 w 9144000"/>
              <a:gd name="connsiteY3" fmla="*/ 5143500 h 5143500"/>
              <a:gd name="connsiteX4" fmla="*/ 0 w 9144000"/>
              <a:gd name="connsiteY4" fmla="*/ 5143500 h 5143500"/>
              <a:gd name="connsiteX5" fmla="*/ 0 w 9144000"/>
              <a:gd name="connsiteY5" fmla="*/ 0 h 5143500"/>
              <a:gd name="connsiteX0" fmla="*/ 0 w 9144000"/>
              <a:gd name="connsiteY0" fmla="*/ 7135 h 5150635"/>
              <a:gd name="connsiteX1" fmla="*/ 7370137 w 9144000"/>
              <a:gd name="connsiteY1" fmla="*/ 7135 h 5150635"/>
              <a:gd name="connsiteX2" fmla="*/ 8811345 w 9144000"/>
              <a:gd name="connsiteY2" fmla="*/ 0 h 5150635"/>
              <a:gd name="connsiteX3" fmla="*/ 9144000 w 9144000"/>
              <a:gd name="connsiteY3" fmla="*/ 7135 h 5150635"/>
              <a:gd name="connsiteX4" fmla="*/ 9144000 w 9144000"/>
              <a:gd name="connsiteY4" fmla="*/ 5150635 h 5150635"/>
              <a:gd name="connsiteX5" fmla="*/ 0 w 9144000"/>
              <a:gd name="connsiteY5" fmla="*/ 5150635 h 5150635"/>
              <a:gd name="connsiteX6" fmla="*/ 0 w 9144000"/>
              <a:gd name="connsiteY6" fmla="*/ 7135 h 5150635"/>
              <a:gd name="connsiteX0" fmla="*/ 0 w 9144000"/>
              <a:gd name="connsiteY0" fmla="*/ 14269 h 5157769"/>
              <a:gd name="connsiteX1" fmla="*/ 7370137 w 9144000"/>
              <a:gd name="connsiteY1" fmla="*/ 14269 h 5157769"/>
              <a:gd name="connsiteX2" fmla="*/ 8212031 w 9144000"/>
              <a:gd name="connsiteY2" fmla="*/ 0 h 5157769"/>
              <a:gd name="connsiteX3" fmla="*/ 8811345 w 9144000"/>
              <a:gd name="connsiteY3" fmla="*/ 7134 h 5157769"/>
              <a:gd name="connsiteX4" fmla="*/ 9144000 w 9144000"/>
              <a:gd name="connsiteY4" fmla="*/ 14269 h 5157769"/>
              <a:gd name="connsiteX5" fmla="*/ 9144000 w 9144000"/>
              <a:gd name="connsiteY5" fmla="*/ 5157769 h 5157769"/>
              <a:gd name="connsiteX6" fmla="*/ 0 w 9144000"/>
              <a:gd name="connsiteY6" fmla="*/ 5157769 h 5157769"/>
              <a:gd name="connsiteX7" fmla="*/ 0 w 9144000"/>
              <a:gd name="connsiteY7" fmla="*/ 14269 h 5157769"/>
              <a:gd name="connsiteX0" fmla="*/ 0 w 9144000"/>
              <a:gd name="connsiteY0" fmla="*/ 7135 h 5150635"/>
              <a:gd name="connsiteX1" fmla="*/ 7370137 w 9144000"/>
              <a:gd name="connsiteY1" fmla="*/ 7135 h 5150635"/>
              <a:gd name="connsiteX2" fmla="*/ 8818480 w 9144000"/>
              <a:gd name="connsiteY2" fmla="*/ 1940742 h 5150635"/>
              <a:gd name="connsiteX3" fmla="*/ 8811345 w 9144000"/>
              <a:gd name="connsiteY3" fmla="*/ 0 h 5150635"/>
              <a:gd name="connsiteX4" fmla="*/ 9144000 w 9144000"/>
              <a:gd name="connsiteY4" fmla="*/ 7135 h 5150635"/>
              <a:gd name="connsiteX5" fmla="*/ 9144000 w 9144000"/>
              <a:gd name="connsiteY5" fmla="*/ 5150635 h 5150635"/>
              <a:gd name="connsiteX6" fmla="*/ 0 w 9144000"/>
              <a:gd name="connsiteY6" fmla="*/ 5150635 h 5150635"/>
              <a:gd name="connsiteX7" fmla="*/ 0 w 9144000"/>
              <a:gd name="connsiteY7" fmla="*/ 7135 h 5150635"/>
              <a:gd name="connsiteX0" fmla="*/ 0 w 9144000"/>
              <a:gd name="connsiteY0" fmla="*/ 785 h 5144285"/>
              <a:gd name="connsiteX1" fmla="*/ 7370137 w 9144000"/>
              <a:gd name="connsiteY1" fmla="*/ 785 h 5144285"/>
              <a:gd name="connsiteX2" fmla="*/ 8818480 w 9144000"/>
              <a:gd name="connsiteY2" fmla="*/ 1934392 h 5144285"/>
              <a:gd name="connsiteX3" fmla="*/ 8814520 w 9144000"/>
              <a:gd name="connsiteY3" fmla="*/ 0 h 5144285"/>
              <a:gd name="connsiteX4" fmla="*/ 9144000 w 9144000"/>
              <a:gd name="connsiteY4" fmla="*/ 785 h 5144285"/>
              <a:gd name="connsiteX5" fmla="*/ 9144000 w 9144000"/>
              <a:gd name="connsiteY5" fmla="*/ 5144285 h 5144285"/>
              <a:gd name="connsiteX6" fmla="*/ 0 w 9144000"/>
              <a:gd name="connsiteY6" fmla="*/ 5144285 h 5144285"/>
              <a:gd name="connsiteX7" fmla="*/ 0 w 9144000"/>
              <a:gd name="connsiteY7" fmla="*/ 785 h 5144285"/>
              <a:gd name="connsiteX0" fmla="*/ 0 w 9144000"/>
              <a:gd name="connsiteY0" fmla="*/ 785 h 5144285"/>
              <a:gd name="connsiteX1" fmla="*/ 7370137 w 9144000"/>
              <a:gd name="connsiteY1" fmla="*/ 785 h 5144285"/>
              <a:gd name="connsiteX2" fmla="*/ 8115300 w 9144000"/>
              <a:gd name="connsiteY2" fmla="*/ 1000911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66000 w 9144000"/>
              <a:gd name="connsiteY2" fmla="*/ 1934361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75974 w 9144000"/>
              <a:gd name="connsiteY2" fmla="*/ 1937686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 name="connsiteX0" fmla="*/ 0 w 9144000"/>
              <a:gd name="connsiteY0" fmla="*/ 785 h 5144285"/>
              <a:gd name="connsiteX1" fmla="*/ 7370137 w 9144000"/>
              <a:gd name="connsiteY1" fmla="*/ 785 h 5144285"/>
              <a:gd name="connsiteX2" fmla="*/ 7375974 w 9144000"/>
              <a:gd name="connsiteY2" fmla="*/ 1931037 h 5144285"/>
              <a:gd name="connsiteX3" fmla="*/ 8818480 w 9144000"/>
              <a:gd name="connsiteY3" fmla="*/ 1934392 h 5144285"/>
              <a:gd name="connsiteX4" fmla="*/ 8814520 w 9144000"/>
              <a:gd name="connsiteY4" fmla="*/ 0 h 5144285"/>
              <a:gd name="connsiteX5" fmla="*/ 9144000 w 9144000"/>
              <a:gd name="connsiteY5" fmla="*/ 785 h 5144285"/>
              <a:gd name="connsiteX6" fmla="*/ 9144000 w 9144000"/>
              <a:gd name="connsiteY6" fmla="*/ 5144285 h 5144285"/>
              <a:gd name="connsiteX7" fmla="*/ 0 w 9144000"/>
              <a:gd name="connsiteY7" fmla="*/ 5144285 h 5144285"/>
              <a:gd name="connsiteX8" fmla="*/ 0 w 9144000"/>
              <a:gd name="connsiteY8" fmla="*/ 785 h 514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4285">
                <a:moveTo>
                  <a:pt x="0" y="785"/>
                </a:moveTo>
                <a:lnTo>
                  <a:pt x="7370137" y="785"/>
                </a:lnTo>
                <a:cubicBezTo>
                  <a:pt x="7372083" y="646419"/>
                  <a:pt x="7374028" y="1285403"/>
                  <a:pt x="7375974" y="1931037"/>
                </a:cubicBezTo>
                <a:lnTo>
                  <a:pt x="8818480" y="1934392"/>
                </a:lnTo>
                <a:cubicBezTo>
                  <a:pt x="8816102" y="1287478"/>
                  <a:pt x="8816898" y="646914"/>
                  <a:pt x="8814520" y="0"/>
                </a:cubicBezTo>
                <a:lnTo>
                  <a:pt x="9144000" y="785"/>
                </a:lnTo>
                <a:lnTo>
                  <a:pt x="9144000" y="5144285"/>
                </a:lnTo>
                <a:lnTo>
                  <a:pt x="0" y="5144285"/>
                </a:lnTo>
                <a:lnTo>
                  <a:pt x="0" y="785"/>
                </a:lnTo>
                <a:close/>
              </a:path>
            </a:pathLst>
          </a:custGeom>
        </p:spPr>
        <p:txBody>
          <a:bodyPr vert="horz"/>
          <a:lstStyle>
            <a:lvl1pPr marL="0" marR="0" indent="0" algn="l" defTabSz="914378" rtl="0" eaLnBrk="1" fontAlgn="auto" latinLnBrk="0" hangingPunct="1">
              <a:lnSpc>
                <a:spcPct val="114000"/>
              </a:lnSpc>
              <a:spcBef>
                <a:spcPts val="600"/>
              </a:spcBef>
              <a:spcAft>
                <a:spcPts val="100"/>
              </a:spcAft>
              <a:buClrTx/>
              <a:buSzTx/>
              <a:buFont typeface="Arial" pitchFamily="34" charset="0"/>
              <a:buNone/>
              <a:tabLst/>
              <a:defRPr>
                <a:latin typeface="Arial"/>
              </a:defRPr>
            </a:lvl1pPr>
          </a:lstStyle>
          <a:p>
            <a:r>
              <a:rPr lang="en-US" dirty="0"/>
              <a:t>	</a:t>
            </a:r>
          </a:p>
          <a:p>
            <a:endParaRPr lang="en-US" dirty="0"/>
          </a:p>
          <a:p>
            <a:r>
              <a:rPr lang="en-US" dirty="0"/>
              <a:t>	Drag picture to placeholder or click icon to add</a:t>
            </a:r>
          </a:p>
          <a:p>
            <a:endParaRPr lang="en-US" dirty="0"/>
          </a:p>
        </p:txBody>
      </p:sp>
      <p:sp>
        <p:nvSpPr>
          <p:cNvPr id="12" name="Text Placeholder 53"/>
          <p:cNvSpPr>
            <a:spLocks noGrp="1"/>
          </p:cNvSpPr>
          <p:nvPr>
            <p:ph type="body" sz="quarter" idx="10" hasCustomPrompt="1"/>
          </p:nvPr>
        </p:nvSpPr>
        <p:spPr>
          <a:xfrm>
            <a:off x="977157" y="2734241"/>
            <a:ext cx="7662019" cy="384175"/>
          </a:xfrm>
          <a:prstGeom prst="rect">
            <a:avLst/>
          </a:prstGeom>
        </p:spPr>
        <p:txBody>
          <a:bodyPr vert="horz"/>
          <a:lstStyle>
            <a:lvl1pPr>
              <a:defRPr sz="1800" i="1">
                <a:solidFill>
                  <a:srgbClr val="455565"/>
                </a:solidFill>
                <a:latin typeface="Georgia"/>
                <a:cs typeface="Georgia"/>
              </a:defRPr>
            </a:lvl1pPr>
          </a:lstStyle>
          <a:p>
            <a:pPr lvl="0"/>
            <a:r>
              <a:rPr lang="en-US" dirty="0"/>
              <a:t>Sub-heading/ Speaker Name</a:t>
            </a:r>
          </a:p>
        </p:txBody>
      </p:sp>
      <p:sp>
        <p:nvSpPr>
          <p:cNvPr id="6" name="Text Placeholder 60"/>
          <p:cNvSpPr>
            <a:spLocks noGrp="1"/>
          </p:cNvSpPr>
          <p:nvPr>
            <p:ph type="body" sz="quarter" idx="11" hasCustomPrompt="1"/>
          </p:nvPr>
        </p:nvSpPr>
        <p:spPr>
          <a:xfrm>
            <a:off x="977157" y="3284942"/>
            <a:ext cx="7662019" cy="1299447"/>
          </a:xfrm>
          <a:prstGeom prst="rect">
            <a:avLst/>
          </a:prstGeom>
        </p:spPr>
        <p:txBody>
          <a:bodyPr vert="horz"/>
          <a:lstStyle>
            <a:lvl1pPr>
              <a:lnSpc>
                <a:spcPct val="80000"/>
              </a:lnSpc>
              <a:defRPr sz="4000" b="1" baseline="0">
                <a:solidFill>
                  <a:schemeClr val="tx1"/>
                </a:solidFill>
                <a:latin typeface="Arial"/>
                <a:cs typeface="Arial"/>
              </a:defRPr>
            </a:lvl1pPr>
          </a:lstStyle>
          <a:p>
            <a:pPr lvl="0"/>
            <a:r>
              <a:rPr lang="en-US" dirty="0"/>
              <a:t>Presentation Title</a:t>
            </a:r>
          </a:p>
        </p:txBody>
      </p:sp>
    </p:spTree>
    <p:extLst>
      <p:ext uri="{BB962C8B-B14F-4D97-AF65-F5344CB8AC3E}">
        <p14:creationId xmlns:p14="http://schemas.microsoft.com/office/powerpoint/2010/main" val="20396825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DD_title_and_content_page.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1" name="think-cell Slide" r:id="rId4" imgW="495" imgH="496" progId="TCLayout.ActiveDocument.1">
                  <p:embed/>
                </p:oleObj>
              </mc:Choice>
              <mc:Fallback>
                <p:oleObj name="think-cell Slide" r:id="rId4" imgW="495" imgH="496"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Content Placeholder 2"/>
          <p:cNvSpPr>
            <a:spLocks noGrp="1"/>
          </p:cNvSpPr>
          <p:nvPr>
            <p:ph idx="1"/>
          </p:nvPr>
        </p:nvSpPr>
        <p:spPr>
          <a:xfrm>
            <a:off x="297521" y="1451781"/>
            <a:ext cx="8532155" cy="3154945"/>
          </a:xfrm>
          <a:prstGeom prst="rect">
            <a:avLst/>
          </a:prstGeom>
        </p:spPr>
        <p:txBody>
          <a:bodyPr/>
          <a:lstStyle>
            <a:lvl1pPr>
              <a:defRPr>
                <a:solidFill>
                  <a:srgbClr val="455565"/>
                </a:solidFill>
                <a:latin typeface="Arial"/>
                <a:cs typeface="Arial"/>
              </a:defRPr>
            </a:lvl1pPr>
            <a:lvl2pPr>
              <a:defRPr>
                <a:solidFill>
                  <a:srgbClr val="455565"/>
                </a:solidFill>
                <a:latin typeface="Arial"/>
                <a:cs typeface="Arial"/>
              </a:defRPr>
            </a:lvl2pPr>
            <a:lvl3pPr>
              <a:defRPr>
                <a:solidFill>
                  <a:srgbClr val="455565"/>
                </a:solidFill>
                <a:latin typeface="Arial"/>
                <a:cs typeface="Arial"/>
              </a:defRPr>
            </a:lvl3pPr>
            <a:lvl4pPr>
              <a:defRPr>
                <a:solidFill>
                  <a:srgbClr val="455565"/>
                </a:solidFill>
                <a:latin typeface="Arial"/>
                <a:cs typeface="Arial"/>
              </a:defRPr>
            </a:lvl4pPr>
            <a:lvl5pPr>
              <a:defRPr>
                <a:solidFill>
                  <a:srgbClr val="455565"/>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Title 1"/>
          <p:cNvSpPr>
            <a:spLocks noGrp="1"/>
          </p:cNvSpPr>
          <p:nvPr>
            <p:ph type="title"/>
          </p:nvPr>
        </p:nvSpPr>
        <p:spPr>
          <a:xfrm>
            <a:off x="297521" y="127000"/>
            <a:ext cx="6266565" cy="394595"/>
          </a:xfrm>
          <a:prstGeom prst="rect">
            <a:avLst/>
          </a:prstGeom>
        </p:spPr>
        <p:txBody>
          <a:bodyPr anchor="ctr"/>
          <a:lstStyle>
            <a:lvl1pPr>
              <a:lnSpc>
                <a:spcPct val="90000"/>
              </a:lnSpc>
              <a:spcBef>
                <a:spcPts val="0"/>
              </a:spcBef>
              <a:spcAft>
                <a:spcPts val="0"/>
              </a:spcAft>
              <a:defRPr b="1">
                <a:solidFill>
                  <a:srgbClr val="455565"/>
                </a:solidFill>
                <a:latin typeface="Arial"/>
                <a:cs typeface="Arial"/>
              </a:defRPr>
            </a:lvl1pPr>
          </a:lstStyle>
          <a:p>
            <a:r>
              <a:rPr lang="en-US" dirty="0"/>
              <a:t>Click to edit Master title style</a:t>
            </a:r>
            <a:endParaRPr lang="en-ZA" dirty="0"/>
          </a:p>
        </p:txBody>
      </p:sp>
      <p:sp>
        <p:nvSpPr>
          <p:cNvPr id="5" name="Text Placeholder 6"/>
          <p:cNvSpPr>
            <a:spLocks noGrp="1"/>
          </p:cNvSpPr>
          <p:nvPr>
            <p:ph type="body" sz="quarter" idx="12"/>
          </p:nvPr>
        </p:nvSpPr>
        <p:spPr>
          <a:xfrm>
            <a:off x="296865" y="622575"/>
            <a:ext cx="8532826" cy="285750"/>
          </a:xfrm>
          <a:prstGeom prst="rect">
            <a:avLst/>
          </a:prstGeom>
        </p:spPr>
        <p:txBody>
          <a:bodyPr/>
          <a:lstStyle>
            <a:lvl1pPr algn="l">
              <a:defRPr sz="1200" i="1">
                <a:solidFill>
                  <a:schemeClr val="tx1"/>
                </a:solidFill>
                <a:latin typeface="+mj-lt"/>
                <a:cs typeface="Georgia"/>
              </a:defRPr>
            </a:lvl1pPr>
            <a:lvl2pPr marL="90486" indent="0" algn="ctr">
              <a:buNone/>
              <a:defRPr sz="1400"/>
            </a:lvl2pPr>
          </a:lstStyle>
          <a:p>
            <a:pPr lvl="0"/>
            <a:r>
              <a:rPr lang="en-US" dirty="0"/>
              <a:t>Click to edit Master text styles</a:t>
            </a:r>
          </a:p>
        </p:txBody>
      </p:sp>
      <p:pic>
        <p:nvPicPr>
          <p:cNvPr id="17" name="Picture 16"/>
          <p:cNvPicPr>
            <a:picLocks noChangeAspect="1"/>
          </p:cNvPicPr>
          <p:nvPr userDrawn="1"/>
        </p:nvPicPr>
        <p:blipFill>
          <a:blip r:embed="rId6"/>
          <a:stretch>
            <a:fillRect/>
          </a:stretch>
        </p:blipFill>
        <p:spPr>
          <a:xfrm>
            <a:off x="6849837" y="0"/>
            <a:ext cx="2273417" cy="458801"/>
          </a:xfrm>
          <a:prstGeom prst="rect">
            <a:avLst/>
          </a:prstGeom>
        </p:spPr>
      </p:pic>
    </p:spTree>
    <p:extLst>
      <p:ext uri="{BB962C8B-B14F-4D97-AF65-F5344CB8AC3E}">
        <p14:creationId xmlns:p14="http://schemas.microsoft.com/office/powerpoint/2010/main" val="13376745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285353" y="750195"/>
            <a:ext cx="8566547" cy="254794"/>
          </a:xfrm>
          <a:prstGeom prst="rect">
            <a:avLst/>
          </a:prstGeom>
        </p:spPr>
        <p:txBody>
          <a:bodyPr lIns="0" tIns="0" rIns="0" bIns="0"/>
          <a:lstStyle>
            <a:lvl1pPr marL="0" indent="0">
              <a:buNone/>
              <a:defRPr sz="1500">
                <a:solidFill>
                  <a:schemeClr val="bg2"/>
                </a:solidFill>
                <a:latin typeface="+mn-lt"/>
              </a:defRPr>
            </a:lvl1pPr>
            <a:lvl2pPr marL="201215" indent="0">
              <a:buNone/>
              <a:defRPr sz="1500">
                <a:solidFill>
                  <a:schemeClr val="bg2"/>
                </a:solidFill>
                <a:latin typeface="+mn-lt"/>
              </a:defRPr>
            </a:lvl2pPr>
            <a:lvl3pPr marL="469106" indent="0">
              <a:buNone/>
              <a:defRPr sz="1500">
                <a:solidFill>
                  <a:schemeClr val="bg2"/>
                </a:solidFill>
                <a:latin typeface="+mn-lt"/>
              </a:defRPr>
            </a:lvl3pPr>
            <a:lvl4pPr marL="670322" indent="0">
              <a:buNone/>
              <a:defRPr sz="1500">
                <a:solidFill>
                  <a:schemeClr val="bg2"/>
                </a:solidFill>
                <a:latin typeface="+mn-lt"/>
              </a:defRPr>
            </a:lvl4pPr>
            <a:lvl5pPr marL="872728" indent="0">
              <a:buNone/>
              <a:defRPr sz="15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273844" y="643105"/>
            <a:ext cx="858123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2440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D_custom_layout_text_blue_background">
    <p:bg bwMode="ltGray">
      <p:bgPr>
        <a:solidFill>
          <a:schemeClr val="accent4">
            <a:lumMod val="75000"/>
          </a:schemeClr>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8"/>
            <a:ext cx="2854058" cy="2415309"/>
          </a:xfrm>
          <a:prstGeom prst="roundRect">
            <a:avLst>
              <a:gd name="adj" fmla="val 0"/>
            </a:avLst>
          </a:prstGeom>
          <a:solidFill>
            <a:schemeClr val="accent4"/>
          </a:solidFill>
          <a:ln>
            <a:noFill/>
          </a:ln>
          <a:effectLst/>
        </p:spPr>
        <p:txBody>
          <a:bodyPr anchor="ctr"/>
          <a:lstStyle>
            <a:lvl1pPr marL="179380" indent="0" algn="l">
              <a:defRPr sz="2400">
                <a:solidFill>
                  <a:srgbClr val="FFFFFF"/>
                </a:solidFill>
                <a:latin typeface="Arial"/>
                <a:cs typeface="Arial"/>
              </a:defRPr>
            </a:lvl1pPr>
            <a:lvl2pPr marL="358757" indent="180967" algn="l">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307810" y="3394328"/>
            <a:ext cx="2374356" cy="1449193"/>
          </a:xfrm>
          <a:prstGeom prst="roundRect">
            <a:avLst>
              <a:gd name="adj" fmla="val 0"/>
            </a:avLst>
          </a:prstGeom>
          <a:solidFill>
            <a:schemeClr val="bg1"/>
          </a:solidFill>
          <a:ln>
            <a:noFill/>
          </a:ln>
          <a:effectLst/>
        </p:spPr>
        <p:txBody>
          <a:bodyPr anchor="ctr"/>
          <a:lstStyle>
            <a:lvl1pPr algn="l">
              <a:defRPr sz="2000" b="1">
                <a:solidFill>
                  <a:srgbClr val="455565"/>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2813539" y="3394328"/>
            <a:ext cx="6112151" cy="1449193"/>
          </a:xfrm>
          <a:prstGeom prst="roundRect">
            <a:avLst>
              <a:gd name="adj" fmla="val 0"/>
            </a:avLst>
          </a:prstGeom>
          <a:solidFill>
            <a:schemeClr val="accent4">
              <a:lumMod val="50000"/>
            </a:schemeClr>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40" y="858958"/>
            <a:ext cx="2036258" cy="2415309"/>
          </a:xfrm>
          <a:prstGeom prst="roundRect">
            <a:avLst>
              <a:gd name="adj" fmla="val 0"/>
            </a:avLst>
          </a:prstGeom>
          <a:solidFill>
            <a:schemeClr val="accent4">
              <a:lumMod val="50000"/>
            </a:schemeClr>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3"/>
            <a:ext cx="3499434" cy="1850277"/>
          </a:xfrm>
          <a:prstGeom prst="roundRect">
            <a:avLst>
              <a:gd name="adj" fmla="val 0"/>
            </a:avLst>
          </a:prstGeom>
          <a:solidFill>
            <a:schemeClr val="accent4"/>
          </a:solidFill>
          <a:ln>
            <a:noFill/>
          </a:ln>
          <a:effectLst/>
        </p:spPr>
        <p:txBody>
          <a:bodyPr anchor="ctr"/>
          <a:lstStyle>
            <a:lvl1pPr marL="179380" indent="0" algn="l">
              <a:defRPr sz="2400">
                <a:solidFill>
                  <a:srgbClr val="FFFFFF"/>
                </a:solidFill>
                <a:effectLst/>
                <a:latin typeface="Arial"/>
                <a:cs typeface="Arial"/>
              </a:defRPr>
            </a:lvl1pPr>
            <a:lvl2pPr marL="358757" indent="-179380" algn="l">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bg1"/>
          </a:solidFill>
          <a:ln>
            <a:noFill/>
          </a:ln>
          <a:effectLst/>
        </p:spPr>
        <p:txBody>
          <a:bodyPr anchor="ctr"/>
          <a:lstStyle>
            <a:lvl1pPr algn="r">
              <a:defRPr>
                <a:solidFill>
                  <a:srgbClr val="455565"/>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307812" y="142523"/>
            <a:ext cx="5034629" cy="563513"/>
          </a:xfrm>
          <a:prstGeom prst="rect">
            <a:avLst/>
          </a:prstGeom>
        </p:spPr>
        <p:txBody>
          <a:bodyPr/>
          <a:lstStyle>
            <a:lvl1pPr algn="l">
              <a:defRPr sz="2200" b="1">
                <a:latin typeface="Arial"/>
                <a:cs typeface="Arial"/>
              </a:defRPr>
            </a:lvl1pPr>
          </a:lstStyle>
          <a:p>
            <a:r>
              <a:rPr lang="en-US"/>
              <a:t>Click to edit Master title style</a:t>
            </a:r>
            <a:endParaRPr lang="en-ZA" dirty="0"/>
          </a:p>
        </p:txBody>
      </p:sp>
    </p:spTree>
    <p:extLst>
      <p:ext uri="{BB962C8B-B14F-4D97-AF65-F5344CB8AC3E}">
        <p14:creationId xmlns:p14="http://schemas.microsoft.com/office/powerpoint/2010/main" val="469364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D_divider_pag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9813108-E169-FA48-9F5E-84E61C3B758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ext Placeholder 53"/>
          <p:cNvSpPr>
            <a:spLocks noGrp="1"/>
          </p:cNvSpPr>
          <p:nvPr>
            <p:ph type="body" sz="quarter" idx="10" hasCustomPrompt="1"/>
          </p:nvPr>
        </p:nvSpPr>
        <p:spPr>
          <a:xfrm>
            <a:off x="977156" y="2884821"/>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6" name="Text Placeholder 60"/>
          <p:cNvSpPr>
            <a:spLocks noGrp="1"/>
          </p:cNvSpPr>
          <p:nvPr>
            <p:ph type="body" sz="quarter" idx="11" hasCustomPrompt="1"/>
          </p:nvPr>
        </p:nvSpPr>
        <p:spPr>
          <a:xfrm>
            <a:off x="977156" y="2362449"/>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2599841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DD_cover_page_with_image.02">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77D45B7B-B845-7843-8F59-B661E3885A1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 name="Text Placeholder 53"/>
          <p:cNvSpPr>
            <a:spLocks noGrp="1"/>
          </p:cNvSpPr>
          <p:nvPr>
            <p:ph type="body" sz="quarter" idx="10" hasCustomPrompt="1"/>
          </p:nvPr>
        </p:nvSpPr>
        <p:spPr>
          <a:xfrm>
            <a:off x="4140201" y="3029388"/>
            <a:ext cx="4820467"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Sub-heading/Speaker Name</a:t>
            </a:r>
          </a:p>
        </p:txBody>
      </p:sp>
      <p:sp>
        <p:nvSpPr>
          <p:cNvPr id="6" name="Text Placeholder 60"/>
          <p:cNvSpPr>
            <a:spLocks noGrp="1"/>
          </p:cNvSpPr>
          <p:nvPr>
            <p:ph type="body" sz="quarter" idx="11" hasCustomPrompt="1"/>
          </p:nvPr>
        </p:nvSpPr>
        <p:spPr>
          <a:xfrm>
            <a:off x="4140201" y="2571751"/>
            <a:ext cx="4820467" cy="457637"/>
          </a:xfrm>
          <a:prstGeom prst="rect">
            <a:avLst/>
          </a:prstGeom>
        </p:spPr>
        <p:txBody>
          <a:bodyPr vert="horz"/>
          <a:lstStyle>
            <a:lvl1pPr algn="r">
              <a:lnSpc>
                <a:spcPct val="80000"/>
              </a:lnSpc>
              <a:defRPr sz="2000" b="1" i="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pic>
        <p:nvPicPr>
          <p:cNvPr id="5" name="Picture 4">
            <a:extLst>
              <a:ext uri="{FF2B5EF4-FFF2-40B4-BE49-F238E27FC236}">
                <a16:creationId xmlns:a16="http://schemas.microsoft.com/office/drawing/2014/main" id="{48E3206B-2DE3-5D49-994C-E977D71800E6}"/>
              </a:ext>
            </a:extLst>
          </p:cNvPr>
          <p:cNvPicPr>
            <a:picLocks noChangeAspect="1"/>
          </p:cNvPicPr>
          <p:nvPr userDrawn="1"/>
        </p:nvPicPr>
        <p:blipFill rotWithShape="1">
          <a:blip r:embed="rId3"/>
          <a:srcRect b="29562"/>
          <a:stretch/>
        </p:blipFill>
        <p:spPr>
          <a:xfrm>
            <a:off x="7716643" y="1"/>
            <a:ext cx="1104900" cy="1037690"/>
          </a:xfrm>
          <a:prstGeom prst="rect">
            <a:avLst/>
          </a:prstGeom>
        </p:spPr>
      </p:pic>
    </p:spTree>
    <p:extLst>
      <p:ext uri="{BB962C8B-B14F-4D97-AF65-F5344CB8AC3E}">
        <p14:creationId xmlns:p14="http://schemas.microsoft.com/office/powerpoint/2010/main" val="9355426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DD_title_and_content_page.03">
    <p:bg bwMode="ltGray">
      <p:bgPr>
        <a:solidFill>
          <a:schemeClr val="tx1">
            <a:lumMod val="7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615851C-47FD-A64B-BD01-26DE683220DE}"/>
              </a:ext>
            </a:extLst>
          </p:cNvPr>
          <p:cNvPicPr>
            <a:picLocks noChangeAspect="1"/>
          </p:cNvPicPr>
          <p:nvPr userDrawn="1"/>
        </p:nvPicPr>
        <p:blipFill>
          <a:blip r:embed="rId2" cstate="email">
            <a:alphaModFix amt="35000"/>
            <a:extLst>
              <a:ext uri="{28A0092B-C50C-407E-A947-70E740481C1C}">
                <a14:useLocalDpi xmlns:a14="http://schemas.microsoft.com/office/drawing/2010/main"/>
              </a:ext>
            </a:extLst>
          </a:blip>
          <a:stretch>
            <a:fillRect/>
          </a:stretch>
        </p:blipFill>
        <p:spPr>
          <a:xfrm>
            <a:off x="0" y="2780"/>
            <a:ext cx="9144000" cy="5140720"/>
          </a:xfrm>
          <a:prstGeom prst="rect">
            <a:avLst/>
          </a:prstGeom>
        </p:spPr>
      </p:pic>
    </p:spTree>
    <p:extLst>
      <p:ext uri="{BB962C8B-B14F-4D97-AF65-F5344CB8AC3E}">
        <p14:creationId xmlns:p14="http://schemas.microsoft.com/office/powerpoint/2010/main" val="400119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D_title_and_content_page.04">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97519" y="127000"/>
            <a:ext cx="8532155" cy="595313"/>
          </a:xfrm>
          <a:prstGeom prst="rect">
            <a:avLst/>
          </a:prstGeom>
        </p:spPr>
        <p:txBody>
          <a:bodyPr anchor="ctr"/>
          <a:lstStyle>
            <a:lvl1pPr>
              <a:defRPr b="1">
                <a:solidFill>
                  <a:srgbClr val="455565"/>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297520" y="1146768"/>
            <a:ext cx="8532155" cy="3581335"/>
          </a:xfrm>
          <a:prstGeom prst="rect">
            <a:avLst/>
          </a:prstGeom>
        </p:spPr>
        <p:txBody>
          <a:bodyPr/>
          <a:lstStyle>
            <a:lvl1pPr algn="l">
              <a:defRPr>
                <a:solidFill>
                  <a:srgbClr val="455565"/>
                </a:solidFill>
                <a:latin typeface="Arial"/>
                <a:cs typeface="Arial"/>
              </a:defRPr>
            </a:lvl1pPr>
            <a:lvl2pPr algn="l">
              <a:defRPr>
                <a:solidFill>
                  <a:srgbClr val="455565"/>
                </a:solidFill>
                <a:latin typeface="Arial"/>
                <a:cs typeface="Arial"/>
              </a:defRPr>
            </a:lvl2pPr>
            <a:lvl3pPr algn="l">
              <a:defRPr>
                <a:solidFill>
                  <a:srgbClr val="455565"/>
                </a:solidFill>
                <a:latin typeface="Arial"/>
                <a:cs typeface="Arial"/>
              </a:defRPr>
            </a:lvl3pPr>
            <a:lvl4pPr algn="l">
              <a:defRPr>
                <a:solidFill>
                  <a:srgbClr val="455565"/>
                </a:solidFill>
                <a:latin typeface="Arial"/>
                <a:cs typeface="Arial"/>
              </a:defRPr>
            </a:lvl4pPr>
            <a:lvl5pPr algn="l">
              <a:defRPr>
                <a:solidFill>
                  <a:srgbClr val="455565"/>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1832366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2DB02-5C5C-4CAF-8DC7-4783CB5EA7F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479665-D208-4332-8176-F7DAF3D38968}"/>
              </a:ext>
            </a:extLst>
          </p:cNvPr>
          <p:cNvSpPr>
            <a:spLocks noGrp="1"/>
          </p:cNvSpPr>
          <p:nvPr>
            <p:ph type="dt" sz="half" idx="10"/>
          </p:nvPr>
        </p:nvSpPr>
        <p:spPr/>
        <p:txBody>
          <a:bodyPr/>
          <a:lstStyle/>
          <a:p>
            <a:fld id="{A4A54C03-EA96-4F89-A305-7CDF8BEBC00F}" type="datetimeFigureOut">
              <a:rPr lang="en-US" smtClean="0"/>
              <a:t>12/2/2025</a:t>
            </a:fld>
            <a:endParaRPr lang="en-US"/>
          </a:p>
        </p:txBody>
      </p:sp>
      <p:sp>
        <p:nvSpPr>
          <p:cNvPr id="4" name="Footer Placeholder 3">
            <a:extLst>
              <a:ext uri="{FF2B5EF4-FFF2-40B4-BE49-F238E27FC236}">
                <a16:creationId xmlns:a16="http://schemas.microsoft.com/office/drawing/2014/main" id="{471D90D1-B35F-464B-9055-902DA61057E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3F7D3B-3A86-416A-A1BB-5073FFF7ADA3}"/>
              </a:ext>
            </a:extLst>
          </p:cNvPr>
          <p:cNvSpPr>
            <a:spLocks noGrp="1"/>
          </p:cNvSpPr>
          <p:nvPr>
            <p:ph type="sldNum" sz="quarter" idx="12"/>
          </p:nvPr>
        </p:nvSpPr>
        <p:spPr/>
        <p:txBody>
          <a:bodyPr/>
          <a:lstStyle/>
          <a:p>
            <a:fld id="{3330FDE4-A323-4A8A-9BDB-428D76AE90D4}" type="slidenum">
              <a:rPr lang="en-US" smtClean="0"/>
              <a:t>‹#›</a:t>
            </a:fld>
            <a:endParaRPr lang="en-US"/>
          </a:p>
        </p:txBody>
      </p:sp>
    </p:spTree>
    <p:extLst>
      <p:ext uri="{BB962C8B-B14F-4D97-AF65-F5344CB8AC3E}">
        <p14:creationId xmlns:p14="http://schemas.microsoft.com/office/powerpoint/2010/main" val="19658618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D_cover_page.01">
    <p:bg>
      <p:bgPr>
        <a:solidFill>
          <a:schemeClr val="accent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l="3971" t="19287" r="2922" b="27313"/>
          <a:stretch/>
        </p:blipFill>
        <p:spPr>
          <a:xfrm>
            <a:off x="-6136" y="1"/>
            <a:ext cx="9150135" cy="5152382"/>
          </a:xfrm>
          <a:prstGeom prst="rect">
            <a:avLst/>
          </a:prstGeom>
        </p:spPr>
      </p:pic>
      <p:sp>
        <p:nvSpPr>
          <p:cNvPr id="54" name="Text Placeholder 53"/>
          <p:cNvSpPr>
            <a:spLocks noGrp="1"/>
          </p:cNvSpPr>
          <p:nvPr>
            <p:ph type="body" sz="quarter" idx="10" hasCustomPrompt="1"/>
          </p:nvPr>
        </p:nvSpPr>
        <p:spPr>
          <a:xfrm>
            <a:off x="977157" y="2734241"/>
            <a:ext cx="7662019" cy="384175"/>
          </a:xfrm>
          <a:prstGeom prst="rect">
            <a:avLst/>
          </a:prstGeom>
        </p:spPr>
        <p:txBody>
          <a:bodyPr vert="horz"/>
          <a:lstStyle>
            <a:lvl1pPr>
              <a:defRPr sz="1800" i="1" baseline="0">
                <a:solidFill>
                  <a:srgbClr val="FFFFFF"/>
                </a:solidFill>
                <a:latin typeface="Georgia"/>
                <a:cs typeface="Georgia"/>
              </a:defRPr>
            </a:lvl1pPr>
          </a:lstStyle>
          <a:p>
            <a:pPr lvl="0"/>
            <a:r>
              <a:rPr lang="en-US"/>
              <a:t>Sub-heading/ Speaker Name</a:t>
            </a:r>
          </a:p>
        </p:txBody>
      </p:sp>
      <p:sp>
        <p:nvSpPr>
          <p:cNvPr id="61" name="Text Placeholder 60"/>
          <p:cNvSpPr>
            <a:spLocks noGrp="1"/>
          </p:cNvSpPr>
          <p:nvPr>
            <p:ph type="body" sz="quarter" idx="11" hasCustomPrompt="1"/>
          </p:nvPr>
        </p:nvSpPr>
        <p:spPr>
          <a:xfrm>
            <a:off x="977157" y="3284942"/>
            <a:ext cx="7662019" cy="1299447"/>
          </a:xfrm>
          <a:prstGeom prst="rect">
            <a:avLst/>
          </a:prstGeom>
        </p:spPr>
        <p:txBody>
          <a:bodyPr vert="horz"/>
          <a:lstStyle>
            <a:lvl1pPr>
              <a:lnSpc>
                <a:spcPct val="80000"/>
              </a:lnSpc>
              <a:defRPr sz="4000" b="1" baseline="0">
                <a:solidFill>
                  <a:schemeClr val="bg1"/>
                </a:solidFill>
                <a:latin typeface="Arial"/>
                <a:cs typeface="Arial"/>
              </a:defRPr>
            </a:lvl1pPr>
          </a:lstStyle>
          <a:p>
            <a:pPr lvl="0"/>
            <a:r>
              <a:rPr lang="en-US"/>
              <a:t>Presentation Title</a:t>
            </a:r>
          </a:p>
        </p:txBody>
      </p:sp>
      <p:pic>
        <p:nvPicPr>
          <p:cNvPr id="3" name="Picture 2"/>
          <p:cNvPicPr>
            <a:picLocks noChangeAspect="1"/>
          </p:cNvPicPr>
          <p:nvPr userDrawn="1"/>
        </p:nvPicPr>
        <p:blipFill>
          <a:blip r:embed="rId3"/>
          <a:stretch>
            <a:fillRect/>
          </a:stretch>
        </p:blipFill>
        <p:spPr>
          <a:xfrm>
            <a:off x="7365579" y="0"/>
            <a:ext cx="1455965" cy="1941286"/>
          </a:xfrm>
          <a:prstGeom prst="rect">
            <a:avLst/>
          </a:prstGeom>
        </p:spPr>
      </p:pic>
    </p:spTree>
    <p:extLst>
      <p:ext uri="{BB962C8B-B14F-4D97-AF65-F5344CB8AC3E}">
        <p14:creationId xmlns:p14="http://schemas.microsoft.com/office/powerpoint/2010/main" val="1320719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D_title_and_content_page.0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9" name="think-cell Slide" r:id="rId5" imgW="594" imgH="595" progId="TCLayout.ActiveDocument.1">
                  <p:embed/>
                </p:oleObj>
              </mc:Choice>
              <mc:Fallback>
                <p:oleObj name="think-cell Slide" r:id="rId5" imgW="594" imgH="595"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fontAlgn="auto">
              <a:lnSpc>
                <a:spcPct val="110000"/>
              </a:lnSpc>
              <a:spcBef>
                <a:spcPts val="150"/>
              </a:spcBef>
              <a:spcAft>
                <a:spcPts val="150"/>
              </a:spcAft>
            </a:pPr>
            <a:endParaRPr lang="en-US"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1"/>
          <p:cNvSpPr>
            <a:spLocks noGrp="1"/>
          </p:cNvSpPr>
          <p:nvPr>
            <p:ph type="title"/>
          </p:nvPr>
        </p:nvSpPr>
        <p:spPr>
          <a:xfrm>
            <a:off x="305991" y="127000"/>
            <a:ext cx="7437912" cy="394595"/>
          </a:xfrm>
          <a:prstGeom prst="rect">
            <a:avLst/>
          </a:prstGeom>
        </p:spPr>
        <p:txBody>
          <a:bodyPr anchor="ctr"/>
          <a:lstStyle>
            <a:lvl1pPr>
              <a:defRPr sz="1800" b="0">
                <a:solidFill>
                  <a:srgbClr val="455565"/>
                </a:solidFill>
                <a:latin typeface="Arial"/>
                <a:cs typeface="Arial"/>
              </a:defRPr>
            </a:lvl1pPr>
          </a:lstStyle>
          <a:p>
            <a:r>
              <a:rPr lang="en-US"/>
              <a:t>Click to edit Master title style</a:t>
            </a:r>
            <a:endParaRPr lang="en-ZA"/>
          </a:p>
        </p:txBody>
      </p:sp>
      <p:sp>
        <p:nvSpPr>
          <p:cNvPr id="5" name="Text Placeholder 6"/>
          <p:cNvSpPr>
            <a:spLocks noGrp="1"/>
          </p:cNvSpPr>
          <p:nvPr>
            <p:ph type="body" sz="quarter" idx="12"/>
          </p:nvPr>
        </p:nvSpPr>
        <p:spPr>
          <a:xfrm>
            <a:off x="306571" y="548280"/>
            <a:ext cx="8523119" cy="285750"/>
          </a:xfrm>
          <a:prstGeom prst="rect">
            <a:avLst/>
          </a:prstGeom>
        </p:spPr>
        <p:txBody>
          <a:bodyPr/>
          <a:lstStyle>
            <a:lvl1pPr algn="l">
              <a:defRPr sz="1200" i="1">
                <a:solidFill>
                  <a:schemeClr val="tx1"/>
                </a:solidFill>
                <a:latin typeface="+mj-lt"/>
                <a:cs typeface="Georgia"/>
              </a:defRPr>
            </a:lvl1pPr>
            <a:lvl2pPr marL="90486" indent="0" algn="ctr">
              <a:buNone/>
              <a:defRPr sz="1400"/>
            </a:lvl2pPr>
          </a:lstStyle>
          <a:p>
            <a:pPr lvl="0"/>
            <a:r>
              <a:rPr lang="en-US"/>
              <a:t>Click to edit Master text styles</a:t>
            </a:r>
          </a:p>
        </p:txBody>
      </p:sp>
    </p:spTree>
    <p:extLst>
      <p:ext uri="{BB962C8B-B14F-4D97-AF65-F5344CB8AC3E}">
        <p14:creationId xmlns:p14="http://schemas.microsoft.com/office/powerpoint/2010/main" val="936761446"/>
      </p:ext>
    </p:extLst>
  </p:cSld>
  <p:clrMapOvr>
    <a:masterClrMapping/>
  </p:clrMapOvr>
  <p:extLst>
    <p:ext uri="{DCECCB84-F9BA-43D5-87BE-67443E8EF086}">
      <p15:sldGuideLst xmlns:p15="http://schemas.microsoft.com/office/powerpoint/2012/main">
        <p15:guide id="1" pos="3840">
          <p15:clr>
            <a:srgbClr val="A4A3A4"/>
          </p15:clr>
        </p15:guide>
        <p15:guide id="4" orient="horz" pos="2160">
          <p15:clr>
            <a:srgbClr val="A4A3A4"/>
          </p15:clr>
        </p15:guide>
        <p15:guide id="5" orient="horz" pos="709">
          <p15:clr>
            <a:srgbClr val="A4A3A4"/>
          </p15:clr>
        </p15:guide>
        <p15:guide id="6" orient="horz" pos="3884">
          <p15:clr>
            <a:srgbClr val="A4A3A4"/>
          </p15:clr>
        </p15:guide>
        <p15:guide id="7" orient="horz" pos="867">
          <p15:clr>
            <a:srgbClr val="FBAE40"/>
          </p15:clr>
        </p15:guide>
        <p15:guide id="8" orient="horz" pos="1026">
          <p15:clr>
            <a:srgbClr val="FBAE40"/>
          </p15:clr>
        </p15:guide>
        <p15:guide id="9" orient="horz" pos="2047">
          <p15:clr>
            <a:srgbClr val="FBAE40"/>
          </p15:clr>
        </p15:guide>
        <p15:guide id="11" pos="3727">
          <p15:clr>
            <a:srgbClr val="FBAE40"/>
          </p15:clr>
        </p15:guide>
        <p15:guide id="12" pos="7423">
          <p15:clr>
            <a:srgbClr val="FBAE40"/>
          </p15:clr>
        </p15:guide>
        <p15:guide id="13" pos="3953">
          <p15:clr>
            <a:srgbClr val="FBAE40"/>
          </p15:clr>
        </p15:guide>
        <p15:guide id="14" pos="257">
          <p15:clr>
            <a:srgbClr val="FBAE40"/>
          </p15:clr>
        </p15:guide>
        <p15:guide id="15" orient="horz" pos="2273">
          <p15:clr>
            <a:srgbClr val="FBAE40"/>
          </p15:clr>
        </p15:guide>
        <p15:guide id="16" orient="horz" pos="4020">
          <p15:clr>
            <a:srgbClr val="FBAE40"/>
          </p15:clr>
        </p15:guide>
        <p15:guide id="17" orient="horz" pos="346">
          <p15:clr>
            <a:srgbClr val="FBAE40"/>
          </p15:clr>
        </p15:guide>
        <p15:guide id="18" orient="horz" pos="61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D_title_and_content_page.02">
    <p:bg bwMode="ltGray">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1" y="1146769"/>
            <a:ext cx="8532155" cy="3581335"/>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9812913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3">
    <p:bg bwMode="ltGray">
      <p:bgPr>
        <a:solidFill>
          <a:schemeClr val="tx1">
            <a:lumMod val="75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rgbClr val="FFFFFF"/>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1" y="1146769"/>
            <a:ext cx="8532155" cy="35813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3630888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D_chart_layout.02">
    <p:bg bwMode="ltGray">
      <p:bgPr>
        <a:solidFill>
          <a:schemeClr val="accent4">
            <a:lumMod val="75000"/>
          </a:schemeClr>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1" y="1146769"/>
            <a:ext cx="8532155"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itle 1"/>
          <p:cNvSpPr>
            <a:spLocks noGrp="1"/>
          </p:cNvSpPr>
          <p:nvPr>
            <p:ph type="title"/>
          </p:nvPr>
        </p:nvSpPr>
        <p:spPr>
          <a:xfrm>
            <a:off x="297521" y="127001"/>
            <a:ext cx="8532154" cy="595313"/>
          </a:xfrm>
          <a:prstGeom prst="rect">
            <a:avLst/>
          </a:prstGeom>
        </p:spPr>
        <p:txBody>
          <a:bodyPr anchor="ctr"/>
          <a:lstStyle>
            <a:lvl1pPr>
              <a:defRPr b="1">
                <a:solidFill>
                  <a:schemeClr val="bg1"/>
                </a:solidFill>
                <a:latin typeface="Arial"/>
                <a:cs typeface="Arial"/>
              </a:defRPr>
            </a:lvl1pPr>
          </a:lstStyle>
          <a:p>
            <a:r>
              <a:rPr lang="en-US"/>
              <a:t>Click to edit Master title style</a:t>
            </a:r>
            <a:endParaRPr lang="en-ZA"/>
          </a:p>
        </p:txBody>
      </p:sp>
      <p:sp>
        <p:nvSpPr>
          <p:cNvPr id="8" name="Text Placeholder 6"/>
          <p:cNvSpPr>
            <a:spLocks noGrp="1"/>
          </p:cNvSpPr>
          <p:nvPr>
            <p:ph type="body" sz="quarter" idx="12"/>
          </p:nvPr>
        </p:nvSpPr>
        <p:spPr>
          <a:xfrm>
            <a:off x="296864" y="756437"/>
            <a:ext cx="8532825" cy="285750"/>
          </a:xfrm>
          <a:prstGeom prst="rect">
            <a:avLst/>
          </a:prstGeom>
        </p:spPr>
        <p:txBody>
          <a:bodyPr/>
          <a:lstStyle>
            <a:lvl1pPr algn="ctr">
              <a:defRPr sz="1400" i="1">
                <a:solidFill>
                  <a:schemeClr val="bg1"/>
                </a:solidFill>
                <a:latin typeface="Georgia"/>
                <a:cs typeface="Georgia"/>
              </a:defRPr>
            </a:lvl1pPr>
            <a:lvl2pPr marL="90486" indent="0" algn="ctr">
              <a:buNone/>
              <a:defRPr sz="1400"/>
            </a:lvl2pPr>
          </a:lstStyle>
          <a:p>
            <a:pPr lvl="0"/>
            <a:r>
              <a:rPr lang="en-US"/>
              <a:t>Click to edit Master text styles</a:t>
            </a:r>
          </a:p>
        </p:txBody>
      </p:sp>
    </p:spTree>
    <p:extLst>
      <p:ext uri="{BB962C8B-B14F-4D97-AF65-F5344CB8AC3E}">
        <p14:creationId xmlns:p14="http://schemas.microsoft.com/office/powerpoint/2010/main" val="16442965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829D9D4-40ED-4589-800F-B08DED43201A}"/>
              </a:ext>
            </a:extLst>
          </p:cNvPr>
          <p:cNvPicPr>
            <a:picLocks noChangeAspect="1"/>
          </p:cNvPicPr>
          <p:nvPr userDrawn="1"/>
        </p:nvPicPr>
        <p:blipFill>
          <a:blip r:embed="rId2" cstate="email">
            <a:graysc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628650" y="1564223"/>
            <a:ext cx="7886700" cy="276999"/>
            <a:chOff x="1797664" y="2085631"/>
            <a:chExt cx="8657274" cy="369332"/>
          </a:xfrm>
          <a:solidFill>
            <a:schemeClr val="bg1"/>
          </a:solidFill>
        </p:grpSpPr>
        <p:sp>
          <p:nvSpPr>
            <p:cNvPr id="20" name="Textbox" hidden="1"/>
            <p:cNvSpPr txBox="1">
              <a:spLocks/>
            </p:cNvSpPr>
            <p:nvPr userDrawn="1"/>
          </p:nvSpPr>
          <p:spPr>
            <a:xfrm>
              <a:off x="2267219" y="2085631"/>
              <a:ext cx="7460724" cy="369332"/>
            </a:xfrm>
            <a:prstGeom prst="rect">
              <a:avLst/>
            </a:prstGeom>
            <a:grpFill/>
          </p:spPr>
          <p:txBody>
            <a:bodyPr wrap="square" rtlCol="0" anchor="ctr">
              <a:normAutofit/>
            </a:bodyPr>
            <a:lstStyle/>
            <a:p>
              <a:pPr defTabSz="7000700">
                <a:tabLst>
                  <a:tab pos="7134047" algn="l"/>
                </a:tabLst>
              </a:pPr>
              <a:r>
                <a:rPr lang="en-US" sz="1050" dirty="0"/>
                <a:t>&lt;TEXT&gt;</a:t>
              </a:r>
            </a:p>
          </p:txBody>
        </p:sp>
        <p:sp>
          <p:nvSpPr>
            <p:cNvPr id="21" name="Textbox" hidden="1"/>
            <p:cNvSpPr txBox="1">
              <a:spLocks/>
            </p:cNvSpPr>
            <p:nvPr userDrawn="1"/>
          </p:nvSpPr>
          <p:spPr>
            <a:xfrm>
              <a:off x="1797664" y="2085631"/>
              <a:ext cx="379556" cy="369332"/>
            </a:xfrm>
            <a:prstGeom prst="rect">
              <a:avLst/>
            </a:prstGeom>
            <a:grpFill/>
          </p:spPr>
          <p:txBody>
            <a:bodyPr wrap="none" rtlCol="0" anchor="ctr">
              <a:noAutofit/>
            </a:bodyPr>
            <a:lstStyle/>
            <a:p>
              <a:pPr algn="ctr"/>
              <a:r>
                <a:rPr lang="en-US" sz="1050" dirty="0"/>
                <a:t>&lt;N&gt;</a:t>
              </a:r>
            </a:p>
          </p:txBody>
        </p:sp>
        <p:sp>
          <p:nvSpPr>
            <p:cNvPr id="22" name="Textbox" hidden="1"/>
            <p:cNvSpPr txBox="1">
              <a:spLocks/>
            </p:cNvSpPr>
            <p:nvPr userDrawn="1"/>
          </p:nvSpPr>
          <p:spPr>
            <a:xfrm>
              <a:off x="9817944" y="2085631"/>
              <a:ext cx="636994" cy="369332"/>
            </a:xfrm>
            <a:prstGeom prst="rect">
              <a:avLst/>
            </a:prstGeom>
            <a:grpFill/>
          </p:spPr>
          <p:txBody>
            <a:bodyPr wrap="none" rtlCol="0" anchor="ctr">
              <a:noAutofit/>
            </a:bodyPr>
            <a:lstStyle/>
            <a:p>
              <a:pPr algn="r"/>
              <a:r>
                <a:rPr lang="en-US" sz="1050" dirty="0"/>
                <a:t>&lt;P&gt;</a:t>
              </a:r>
            </a:p>
          </p:txBody>
        </p:sp>
      </p:grpSp>
      <p:grpSp>
        <p:nvGrpSpPr>
          <p:cNvPr id="4" name="SP Agenda Section Highlight" hidden="1"/>
          <p:cNvGrpSpPr>
            <a:grpSpLocks/>
          </p:cNvGrpSpPr>
          <p:nvPr userDrawn="1"/>
        </p:nvGrpSpPr>
        <p:grpSpPr>
          <a:xfrm>
            <a:off x="628650" y="1962722"/>
            <a:ext cx="7886700"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7460723" cy="369332"/>
            </a:xfrm>
            <a:prstGeom prst="rect">
              <a:avLst/>
            </a:prstGeom>
            <a:grpFill/>
          </p:spPr>
          <p:txBody>
            <a:bodyPr wrap="square" rtlCol="0" anchor="ctr">
              <a:normAutofit/>
            </a:bodyPr>
            <a:lstStyle/>
            <a:p>
              <a:pPr defTabSz="7000700">
                <a:tabLst>
                  <a:tab pos="7134047" algn="l"/>
                </a:tabLst>
              </a:pPr>
              <a:r>
                <a:rPr lang="en-US"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050" b="1" dirty="0"/>
                <a:t>&lt;P&gt;</a:t>
              </a:r>
            </a:p>
          </p:txBody>
        </p:sp>
      </p:grpSp>
      <p:grpSp>
        <p:nvGrpSpPr>
          <p:cNvPr id="8" name="SP Agenda Subsection" hidden="1"/>
          <p:cNvGrpSpPr>
            <a:grpSpLocks/>
          </p:cNvGrpSpPr>
          <p:nvPr userDrawn="1"/>
        </p:nvGrpSpPr>
        <p:grpSpPr>
          <a:xfrm>
            <a:off x="1056412" y="2361221"/>
            <a:ext cx="7458938" cy="276999"/>
            <a:chOff x="2265804" y="3155687"/>
            <a:chExt cx="8189134" cy="369332"/>
          </a:xfrm>
        </p:grpSpPr>
        <p:sp>
          <p:nvSpPr>
            <p:cNvPr id="39" name="Textbox" hidden="1"/>
            <p:cNvSpPr txBox="1">
              <a:spLocks/>
            </p:cNvSpPr>
            <p:nvPr userDrawn="1"/>
          </p:nvSpPr>
          <p:spPr>
            <a:xfrm>
              <a:off x="2744123" y="3155687"/>
              <a:ext cx="6983695" cy="369332"/>
            </a:xfrm>
            <a:prstGeom prst="rect">
              <a:avLst/>
            </a:prstGeom>
            <a:solidFill>
              <a:schemeClr val="bg1">
                <a:lumMod val="100000"/>
              </a:schemeClr>
            </a:solidFill>
          </p:spPr>
          <p:txBody>
            <a:bodyPr wrap="square" rtlCol="0" anchor="ctr">
              <a:normAutofit/>
            </a:bodyPr>
            <a:lstStyle/>
            <a:p>
              <a:pPr defTabSz="7000700">
                <a:tabLst>
                  <a:tab pos="7134047" algn="l"/>
                </a:tabLst>
              </a:pPr>
              <a:r>
                <a:rPr lang="en-US" sz="1050" dirty="0"/>
                <a:t>&lt;TEXT&gt;</a:t>
              </a:r>
            </a:p>
          </p:txBody>
        </p:sp>
        <p:sp>
          <p:nvSpPr>
            <p:cNvPr id="40" name="Textbox" hidden="1"/>
            <p:cNvSpPr txBox="1">
              <a:spLocks/>
            </p:cNvSpPr>
            <p:nvPr userDrawn="1"/>
          </p:nvSpPr>
          <p:spPr>
            <a:xfrm>
              <a:off x="2265804" y="3155687"/>
              <a:ext cx="379556" cy="369332"/>
            </a:xfrm>
            <a:prstGeom prst="rect">
              <a:avLst/>
            </a:prstGeom>
            <a:solidFill>
              <a:schemeClr val="bg1">
                <a:lumMod val="100000"/>
              </a:schemeClr>
            </a:solidFill>
          </p:spPr>
          <p:txBody>
            <a:bodyPr wrap="none" rtlCol="0" anchor="ctr">
              <a:noAutofit/>
            </a:bodyPr>
            <a:lstStyle/>
            <a:p>
              <a:pPr algn="ctr"/>
              <a:r>
                <a:rPr lang="en-US" sz="1050" dirty="0"/>
                <a:t>&lt;N&gt;</a:t>
              </a:r>
            </a:p>
          </p:txBody>
        </p:sp>
        <p:sp>
          <p:nvSpPr>
            <p:cNvPr id="41" name="Textbox" hidden="1"/>
            <p:cNvSpPr txBox="1">
              <a:spLocks/>
            </p:cNvSpPr>
            <p:nvPr userDrawn="1"/>
          </p:nvSpPr>
          <p:spPr>
            <a:xfrm>
              <a:off x="9817944" y="3155687"/>
              <a:ext cx="636994" cy="369332"/>
            </a:xfrm>
            <a:prstGeom prst="rect">
              <a:avLst/>
            </a:prstGeom>
            <a:solidFill>
              <a:schemeClr val="bg1">
                <a:lumMod val="100000"/>
              </a:schemeClr>
            </a:solidFill>
          </p:spPr>
          <p:txBody>
            <a:bodyPr wrap="none" rtlCol="0" anchor="ctr">
              <a:noAutofit/>
            </a:bodyPr>
            <a:lstStyle/>
            <a:p>
              <a:pPr algn="r"/>
              <a:r>
                <a:rPr lang="en-US" sz="1050" dirty="0"/>
                <a:t>&lt;P&gt;</a:t>
              </a:r>
            </a:p>
          </p:txBody>
        </p:sp>
      </p:grpSp>
      <p:grpSp>
        <p:nvGrpSpPr>
          <p:cNvPr id="9" name="SP Agenda Subsection Highlight" hidden="1"/>
          <p:cNvGrpSpPr>
            <a:grpSpLocks/>
          </p:cNvGrpSpPr>
          <p:nvPr userDrawn="1"/>
        </p:nvGrpSpPr>
        <p:grpSpPr>
          <a:xfrm>
            <a:off x="1056411" y="2759720"/>
            <a:ext cx="7458938"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2" y="3694411"/>
              <a:ext cx="6983696" cy="369332"/>
            </a:xfrm>
            <a:prstGeom prst="rect">
              <a:avLst/>
            </a:prstGeom>
            <a:grpFill/>
          </p:spPr>
          <p:txBody>
            <a:bodyPr wrap="square" rtlCol="0" anchor="ctr">
              <a:normAutofit/>
            </a:bodyPr>
            <a:lstStyle/>
            <a:p>
              <a:pPr defTabSz="7000700">
                <a:tabLst>
                  <a:tab pos="7134047" algn="l"/>
                </a:tabLst>
              </a:pPr>
              <a:r>
                <a:rPr lang="en-US"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050" b="1" dirty="0"/>
                <a:t>&lt;P&gt;</a:t>
              </a:r>
            </a:p>
          </p:txBody>
        </p:sp>
      </p:grpSp>
      <p:sp>
        <p:nvSpPr>
          <p:cNvPr id="2" name="Title 1"/>
          <p:cNvSpPr>
            <a:spLocks noGrp="1"/>
          </p:cNvSpPr>
          <p:nvPr>
            <p:ph type="title" sz="quarter" idx="14" hasCustomPrompt="1"/>
          </p:nvPr>
        </p:nvSpPr>
        <p:spPr>
          <a:xfrm>
            <a:off x="628650" y="273844"/>
            <a:ext cx="7886700" cy="994172"/>
          </a:xfrm>
          <a:prstGeom prst="rect">
            <a:avLst/>
          </a:prstGeom>
        </p:spPr>
        <p:txBody>
          <a:bodyPr/>
          <a:lstStyle>
            <a:lvl1pPr>
              <a:defRPr/>
            </a:lvl1pPr>
          </a:lstStyle>
          <a:p>
            <a:r>
              <a:rPr lang="en-US"/>
              <a:t>Contents</a:t>
            </a:r>
            <a:endParaRPr lang="en-ZA"/>
          </a:p>
        </p:txBody>
      </p:sp>
    </p:spTree>
    <p:extLst>
      <p:ext uri="{BB962C8B-B14F-4D97-AF65-F5344CB8AC3E}">
        <p14:creationId xmlns:p14="http://schemas.microsoft.com/office/powerpoint/2010/main" val="3531725520"/>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D_divider_page">
    <p:spTree>
      <p:nvGrpSpPr>
        <p:cNvPr id="1" name=""/>
        <p:cNvGrpSpPr/>
        <p:nvPr/>
      </p:nvGrpSpPr>
      <p:grpSpPr>
        <a:xfrm>
          <a:off x="0" y="0"/>
          <a:ext cx="0" cy="0"/>
          <a:chOff x="0" y="0"/>
          <a:chExt cx="0" cy="0"/>
        </a:xfrm>
      </p:grpSpPr>
      <p:pic>
        <p:nvPicPr>
          <p:cNvPr id="4" name="Picture 3" descr="A picture containing computer&#10;&#10;Description automatically generated">
            <a:extLst>
              <a:ext uri="{FF2B5EF4-FFF2-40B4-BE49-F238E27FC236}">
                <a16:creationId xmlns:a16="http://schemas.microsoft.com/office/drawing/2014/main" id="{9CB533F1-79C0-E542-A5B8-3349378CC90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52000" cy="5148000"/>
          </a:xfrm>
          <a:prstGeom prst="rect">
            <a:avLst/>
          </a:prstGeom>
        </p:spPr>
      </p:pic>
      <p:sp>
        <p:nvSpPr>
          <p:cNvPr id="7" name="Text Placeholder 53">
            <a:extLst>
              <a:ext uri="{FF2B5EF4-FFF2-40B4-BE49-F238E27FC236}">
                <a16:creationId xmlns:a16="http://schemas.microsoft.com/office/drawing/2014/main" id="{A5C3802E-9DDC-EF47-A275-93C5987CB666}"/>
              </a:ext>
            </a:extLst>
          </p:cNvPr>
          <p:cNvSpPr>
            <a:spLocks noGrp="1"/>
          </p:cNvSpPr>
          <p:nvPr>
            <p:ph type="body" sz="quarter" idx="10" hasCustomPrompt="1"/>
          </p:nvPr>
        </p:nvSpPr>
        <p:spPr>
          <a:xfrm>
            <a:off x="977156" y="2884821"/>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FE712216-73BE-2E4C-83DB-21C45280747B}"/>
              </a:ext>
            </a:extLst>
          </p:cNvPr>
          <p:cNvSpPr>
            <a:spLocks noGrp="1"/>
          </p:cNvSpPr>
          <p:nvPr>
            <p:ph type="body" sz="quarter" idx="11" hasCustomPrompt="1"/>
          </p:nvPr>
        </p:nvSpPr>
        <p:spPr>
          <a:xfrm>
            <a:off x="977156" y="2362449"/>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3219335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829D9D4-40ED-4589-800F-B08DED43201A}"/>
              </a:ext>
            </a:extLst>
          </p:cNvPr>
          <p:cNvPicPr>
            <a:picLocks noChangeAspect="1"/>
          </p:cNvPicPr>
          <p:nvPr userDrawn="1"/>
        </p:nvPicPr>
        <p:blipFill>
          <a:blip r:embed="rId2" cstate="email">
            <a:duotone>
              <a:prstClr val="black"/>
              <a:schemeClr val="accent2">
                <a:lumMod val="20000"/>
                <a:lumOff val="80000"/>
                <a:tint val="45000"/>
                <a:satMod val="400000"/>
              </a:schemeClr>
            </a:duotone>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22" name="SP Agenda Section" hidden="1"/>
          <p:cNvGrpSpPr/>
          <p:nvPr userDrawn="1"/>
        </p:nvGrpSpPr>
        <p:grpSpPr>
          <a:xfrm>
            <a:off x="628650" y="958433"/>
            <a:ext cx="7886700" cy="276999"/>
            <a:chOff x="1797664" y="2085631"/>
            <a:chExt cx="8657274" cy="369332"/>
          </a:xfrm>
          <a:solidFill>
            <a:schemeClr val="bg1"/>
          </a:solidFill>
        </p:grpSpPr>
        <p:sp>
          <p:nvSpPr>
            <p:cNvPr id="23" name="Textbox" hidden="1"/>
            <p:cNvSpPr txBox="1">
              <a:spLocks/>
            </p:cNvSpPr>
            <p:nvPr userDrawn="1"/>
          </p:nvSpPr>
          <p:spPr>
            <a:xfrm>
              <a:off x="2267219" y="2085631"/>
              <a:ext cx="7460724" cy="369332"/>
            </a:xfrm>
            <a:prstGeom prst="rect">
              <a:avLst/>
            </a:prstGeom>
            <a:grpFill/>
          </p:spPr>
          <p:txBody>
            <a:bodyPr wrap="square" rtlCol="0" anchor="ctr">
              <a:normAutofit/>
            </a:bodyPr>
            <a:lstStyle/>
            <a:p>
              <a:pPr defTabSz="7000700">
                <a:tabLst>
                  <a:tab pos="7134047" algn="l"/>
                </a:tabLst>
              </a:pPr>
              <a:r>
                <a:rPr lang="en-US" sz="1050" dirty="0"/>
                <a:t>&lt;TEXT&gt;</a:t>
              </a:r>
            </a:p>
          </p:txBody>
        </p:sp>
        <p:sp>
          <p:nvSpPr>
            <p:cNvPr id="24" name="Textbox" hidden="1"/>
            <p:cNvSpPr txBox="1">
              <a:spLocks/>
            </p:cNvSpPr>
            <p:nvPr userDrawn="1"/>
          </p:nvSpPr>
          <p:spPr>
            <a:xfrm>
              <a:off x="1797664" y="2085631"/>
              <a:ext cx="379556" cy="369332"/>
            </a:xfrm>
            <a:prstGeom prst="rect">
              <a:avLst/>
            </a:prstGeom>
            <a:grpFill/>
          </p:spPr>
          <p:txBody>
            <a:bodyPr wrap="none" rtlCol="0" anchor="ctr">
              <a:noAutofit/>
            </a:bodyPr>
            <a:lstStyle/>
            <a:p>
              <a:pPr algn="ctr"/>
              <a:r>
                <a:rPr lang="en-US" sz="1050" dirty="0"/>
                <a:t>&lt;N&gt;</a:t>
              </a:r>
            </a:p>
          </p:txBody>
        </p:sp>
        <p:sp>
          <p:nvSpPr>
            <p:cNvPr id="25" name="Textbox" hidden="1"/>
            <p:cNvSpPr txBox="1">
              <a:spLocks/>
            </p:cNvSpPr>
            <p:nvPr userDrawn="1"/>
          </p:nvSpPr>
          <p:spPr>
            <a:xfrm>
              <a:off x="9817944" y="2085631"/>
              <a:ext cx="636994" cy="369332"/>
            </a:xfrm>
            <a:prstGeom prst="rect">
              <a:avLst/>
            </a:prstGeom>
            <a:grpFill/>
          </p:spPr>
          <p:txBody>
            <a:bodyPr wrap="none" rtlCol="0" anchor="ctr">
              <a:noAutofit/>
            </a:bodyPr>
            <a:lstStyle/>
            <a:p>
              <a:pPr algn="r"/>
              <a:r>
                <a:rPr lang="en-US" sz="1050" dirty="0"/>
                <a:t>&lt;P&gt;</a:t>
              </a:r>
            </a:p>
          </p:txBody>
        </p:sp>
      </p:grpSp>
      <p:grpSp>
        <p:nvGrpSpPr>
          <p:cNvPr id="26" name="SP Agenda Section Highlight" hidden="1"/>
          <p:cNvGrpSpPr>
            <a:grpSpLocks/>
          </p:cNvGrpSpPr>
          <p:nvPr userDrawn="1"/>
        </p:nvGrpSpPr>
        <p:grpSpPr>
          <a:xfrm>
            <a:off x="628650" y="1356932"/>
            <a:ext cx="7886700" cy="276999"/>
            <a:chOff x="1797664" y="2616963"/>
            <a:chExt cx="8657274" cy="369332"/>
          </a:xfrm>
          <a:solidFill>
            <a:schemeClr val="accent1">
              <a:lumMod val="60000"/>
              <a:lumOff val="40000"/>
            </a:schemeClr>
          </a:solidFill>
        </p:grpSpPr>
        <p:sp>
          <p:nvSpPr>
            <p:cNvPr id="27" name="Textbox" hidden="1"/>
            <p:cNvSpPr txBox="1">
              <a:spLocks/>
            </p:cNvSpPr>
            <p:nvPr userDrawn="1"/>
          </p:nvSpPr>
          <p:spPr>
            <a:xfrm>
              <a:off x="2267220" y="2616963"/>
              <a:ext cx="7460723" cy="369332"/>
            </a:xfrm>
            <a:prstGeom prst="rect">
              <a:avLst/>
            </a:prstGeom>
            <a:grpFill/>
          </p:spPr>
          <p:txBody>
            <a:bodyPr wrap="square" rtlCol="0" anchor="ctr">
              <a:normAutofit/>
            </a:bodyPr>
            <a:lstStyle/>
            <a:p>
              <a:pPr defTabSz="7000700">
                <a:tabLst>
                  <a:tab pos="7134047" algn="l"/>
                </a:tabLst>
              </a:pPr>
              <a:r>
                <a:rPr lang="en-US" sz="1050" b="1" dirty="0"/>
                <a:t>&lt;TEXT&gt;</a:t>
              </a:r>
            </a:p>
          </p:txBody>
        </p:sp>
        <p:sp>
          <p:nvSpPr>
            <p:cNvPr id="28"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050" b="1" dirty="0"/>
                <a:t>&lt;N&gt;</a:t>
              </a:r>
            </a:p>
          </p:txBody>
        </p:sp>
        <p:sp>
          <p:nvSpPr>
            <p:cNvPr id="29"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050" b="1" dirty="0"/>
                <a:t>&lt;P&gt;</a:t>
              </a:r>
            </a:p>
          </p:txBody>
        </p:sp>
      </p:grpSp>
      <p:grpSp>
        <p:nvGrpSpPr>
          <p:cNvPr id="30" name="SP Agenda Subsection" hidden="1"/>
          <p:cNvGrpSpPr>
            <a:grpSpLocks/>
          </p:cNvGrpSpPr>
          <p:nvPr userDrawn="1"/>
        </p:nvGrpSpPr>
        <p:grpSpPr>
          <a:xfrm>
            <a:off x="1056412" y="1755431"/>
            <a:ext cx="7458938" cy="276999"/>
            <a:chOff x="2265804" y="3155687"/>
            <a:chExt cx="8189134" cy="369332"/>
          </a:xfrm>
        </p:grpSpPr>
        <p:sp>
          <p:nvSpPr>
            <p:cNvPr id="32" name="Textbox" hidden="1"/>
            <p:cNvSpPr txBox="1">
              <a:spLocks/>
            </p:cNvSpPr>
            <p:nvPr userDrawn="1"/>
          </p:nvSpPr>
          <p:spPr>
            <a:xfrm>
              <a:off x="2744123" y="3155687"/>
              <a:ext cx="6983695" cy="369332"/>
            </a:xfrm>
            <a:prstGeom prst="rect">
              <a:avLst/>
            </a:prstGeom>
            <a:solidFill>
              <a:schemeClr val="bg1">
                <a:lumMod val="100000"/>
              </a:schemeClr>
            </a:solidFill>
          </p:spPr>
          <p:txBody>
            <a:bodyPr wrap="square" rtlCol="0" anchor="ctr">
              <a:normAutofit/>
            </a:bodyPr>
            <a:lstStyle/>
            <a:p>
              <a:pPr defTabSz="7000700">
                <a:tabLst>
                  <a:tab pos="7134047" algn="l"/>
                </a:tabLst>
              </a:pPr>
              <a:r>
                <a:rPr lang="en-US" sz="1050" dirty="0"/>
                <a:t>&lt;TEXT&gt;</a:t>
              </a:r>
            </a:p>
          </p:txBody>
        </p:sp>
        <p:sp>
          <p:nvSpPr>
            <p:cNvPr id="33" name="Textbox" hidden="1"/>
            <p:cNvSpPr txBox="1">
              <a:spLocks/>
            </p:cNvSpPr>
            <p:nvPr userDrawn="1"/>
          </p:nvSpPr>
          <p:spPr>
            <a:xfrm>
              <a:off x="2265804" y="3155687"/>
              <a:ext cx="379556" cy="369332"/>
            </a:xfrm>
            <a:prstGeom prst="rect">
              <a:avLst/>
            </a:prstGeom>
            <a:solidFill>
              <a:schemeClr val="bg1">
                <a:lumMod val="100000"/>
              </a:schemeClr>
            </a:solidFill>
          </p:spPr>
          <p:txBody>
            <a:bodyPr wrap="none" rtlCol="0" anchor="ctr">
              <a:noAutofit/>
            </a:bodyPr>
            <a:lstStyle/>
            <a:p>
              <a:pPr algn="ctr"/>
              <a:r>
                <a:rPr lang="en-US" sz="1050" dirty="0"/>
                <a:t>&lt;N&gt;</a:t>
              </a:r>
            </a:p>
          </p:txBody>
        </p:sp>
        <p:sp>
          <p:nvSpPr>
            <p:cNvPr id="34" name="Textbox" hidden="1"/>
            <p:cNvSpPr txBox="1">
              <a:spLocks/>
            </p:cNvSpPr>
            <p:nvPr userDrawn="1"/>
          </p:nvSpPr>
          <p:spPr>
            <a:xfrm>
              <a:off x="9817944" y="3155687"/>
              <a:ext cx="636994" cy="369332"/>
            </a:xfrm>
            <a:prstGeom prst="rect">
              <a:avLst/>
            </a:prstGeom>
            <a:solidFill>
              <a:schemeClr val="bg1">
                <a:lumMod val="100000"/>
              </a:schemeClr>
            </a:solidFill>
          </p:spPr>
          <p:txBody>
            <a:bodyPr wrap="none" rtlCol="0" anchor="ctr">
              <a:noAutofit/>
            </a:bodyPr>
            <a:lstStyle/>
            <a:p>
              <a:pPr algn="r"/>
              <a:r>
                <a:rPr lang="en-US" sz="1050" dirty="0"/>
                <a:t>&lt;P&gt;</a:t>
              </a:r>
            </a:p>
          </p:txBody>
        </p:sp>
      </p:grpSp>
      <p:grpSp>
        <p:nvGrpSpPr>
          <p:cNvPr id="35" name="SP Agenda Subsection Highlight" hidden="1"/>
          <p:cNvGrpSpPr>
            <a:grpSpLocks/>
          </p:cNvGrpSpPr>
          <p:nvPr userDrawn="1"/>
        </p:nvGrpSpPr>
        <p:grpSpPr>
          <a:xfrm>
            <a:off x="1056411" y="2153930"/>
            <a:ext cx="7458938" cy="276999"/>
            <a:chOff x="2265804" y="3694411"/>
            <a:chExt cx="8189134" cy="369332"/>
          </a:xfrm>
          <a:solidFill>
            <a:schemeClr val="accent1">
              <a:lumMod val="60000"/>
              <a:lumOff val="40000"/>
            </a:schemeClr>
          </a:solidFill>
        </p:grpSpPr>
        <p:sp>
          <p:nvSpPr>
            <p:cNvPr id="36" name="Textbox" hidden="1"/>
            <p:cNvSpPr txBox="1">
              <a:spLocks/>
            </p:cNvSpPr>
            <p:nvPr userDrawn="1"/>
          </p:nvSpPr>
          <p:spPr>
            <a:xfrm>
              <a:off x="2744122" y="3694411"/>
              <a:ext cx="6983696" cy="369332"/>
            </a:xfrm>
            <a:prstGeom prst="rect">
              <a:avLst/>
            </a:prstGeom>
            <a:grpFill/>
          </p:spPr>
          <p:txBody>
            <a:bodyPr wrap="square" rtlCol="0" anchor="ctr">
              <a:normAutofit/>
            </a:bodyPr>
            <a:lstStyle/>
            <a:p>
              <a:pPr defTabSz="7000700">
                <a:tabLst>
                  <a:tab pos="7134047" algn="l"/>
                </a:tabLst>
              </a:pPr>
              <a:r>
                <a:rPr lang="en-US" sz="1050" b="1" dirty="0"/>
                <a:t>&lt;TEXT&gt;</a:t>
              </a:r>
            </a:p>
          </p:txBody>
        </p:sp>
        <p:sp>
          <p:nvSpPr>
            <p:cNvPr id="3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050" b="1" dirty="0"/>
                <a:t>&lt;N&gt;</a:t>
              </a:r>
            </a:p>
          </p:txBody>
        </p:sp>
        <p:sp>
          <p:nvSpPr>
            <p:cNvPr id="3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050" b="1" dirty="0"/>
                <a:t>&lt;P&gt;</a:t>
              </a:r>
            </a:p>
          </p:txBody>
        </p:sp>
      </p:grpSp>
      <p:sp>
        <p:nvSpPr>
          <p:cNvPr id="20" name="Title 1">
            <a:extLst>
              <a:ext uri="{FF2B5EF4-FFF2-40B4-BE49-F238E27FC236}">
                <a16:creationId xmlns:a16="http://schemas.microsoft.com/office/drawing/2014/main" id="{297D90C9-B5CB-43DB-BBD3-F4FF33420ECE}"/>
              </a:ext>
            </a:extLst>
          </p:cNvPr>
          <p:cNvSpPr>
            <a:spLocks noGrp="1"/>
          </p:cNvSpPr>
          <p:nvPr>
            <p:ph type="title" sz="quarter" idx="14" hasCustomPrompt="1"/>
          </p:nvPr>
        </p:nvSpPr>
        <p:spPr>
          <a:xfrm>
            <a:off x="628650" y="273844"/>
            <a:ext cx="7886700" cy="994172"/>
          </a:xfrm>
          <a:prstGeom prst="rect">
            <a:avLst/>
          </a:prstGeom>
        </p:spPr>
        <p:txBody>
          <a:bodyPr/>
          <a:lstStyle>
            <a:lvl1pPr>
              <a:defRPr/>
            </a:lvl1pPr>
          </a:lstStyle>
          <a:p>
            <a:r>
              <a:rPr lang="en-US"/>
              <a:t>Contents</a:t>
            </a:r>
            <a:endParaRPr lang="en-ZA"/>
          </a:p>
        </p:txBody>
      </p:sp>
    </p:spTree>
    <p:extLst>
      <p:ext uri="{BB962C8B-B14F-4D97-AF65-F5344CB8AC3E}">
        <p14:creationId xmlns:p14="http://schemas.microsoft.com/office/powerpoint/2010/main" val="9879099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1" name="Title 10"/>
          <p:cNvSpPr>
            <a:spLocks noGrp="1"/>
          </p:cNvSpPr>
          <p:nvPr>
            <p:ph type="title"/>
          </p:nvPr>
        </p:nvSpPr>
        <p:spPr/>
        <p:txBody>
          <a:bodyPr/>
          <a:lstStyle/>
          <a:p>
            <a:r>
              <a:rPr lang="en-US"/>
              <a:t>Click to edit Master title style</a:t>
            </a:r>
          </a:p>
        </p:txBody>
      </p:sp>
      <p:sp>
        <p:nvSpPr>
          <p:cNvPr id="14" name="Footer Placeholder 13"/>
          <p:cNvSpPr>
            <a:spLocks noGrp="1"/>
          </p:cNvSpPr>
          <p:nvPr>
            <p:ph type="ftr" sz="quarter" idx="10"/>
          </p:nvPr>
        </p:nvSpPr>
        <p:spPr/>
        <p:txBody>
          <a:bodyPr/>
          <a:lstStyle/>
          <a:p>
            <a:r>
              <a:rPr lang="en-US" dirty="0"/>
              <a:t>Internet Solutions is a division of Dimension Data</a:t>
            </a:r>
          </a:p>
        </p:txBody>
      </p:sp>
      <p:sp>
        <p:nvSpPr>
          <p:cNvPr id="15" name="Slide Number Placeholder 14"/>
          <p:cNvSpPr>
            <a:spLocks noGrp="1"/>
          </p:cNvSpPr>
          <p:nvPr>
            <p:ph type="sldNum" sz="quarter" idx="11"/>
          </p:nvPr>
        </p:nvSpPr>
        <p:spPr/>
        <p:txBody>
          <a:bodyPr/>
          <a:lstStyle/>
          <a:p>
            <a:fld id="{E23E084E-5FA9-DF4F-ABF8-9AF7108C3AC9}" type="slidenum">
              <a:rPr lang="en-US" smtClean="0"/>
              <a:pPr/>
              <a:t>‹#›</a:t>
            </a:fld>
            <a:endParaRPr lang="en-US" dirty="0"/>
          </a:p>
        </p:txBody>
      </p:sp>
    </p:spTree>
    <p:extLst>
      <p:ext uri="{BB962C8B-B14F-4D97-AF65-F5344CB8AC3E}">
        <p14:creationId xmlns:p14="http://schemas.microsoft.com/office/powerpoint/2010/main" val="311543533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7520" y="57248"/>
            <a:ext cx="6411720" cy="625335"/>
          </a:xfrm>
          <a:prstGeom prst="rect">
            <a:avLst/>
          </a:prstGeom>
        </p:spPr>
        <p:txBody>
          <a:bodyPr anchor="ctr"/>
          <a:lstStyle>
            <a:lvl1pPr>
              <a:defRPr b="1">
                <a:solidFill>
                  <a:schemeClr val="tx2"/>
                </a:solidFill>
              </a:defRPr>
            </a:lvl1pPr>
          </a:lstStyle>
          <a:p>
            <a:r>
              <a:rPr lang="en-US"/>
              <a:t>Click to edit Master title style</a:t>
            </a:r>
            <a:endParaRPr lang="en-ZA"/>
          </a:p>
        </p:txBody>
      </p:sp>
    </p:spTree>
    <p:extLst>
      <p:ext uri="{BB962C8B-B14F-4D97-AF65-F5344CB8AC3E}">
        <p14:creationId xmlns:p14="http://schemas.microsoft.com/office/powerpoint/2010/main" val="33271658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97E6F-0A40-CD49-84B7-C2C0614D46D4}"/>
              </a:ext>
            </a:extLst>
          </p:cNvPr>
          <p:cNvSpPr>
            <a:spLocks noGrp="1"/>
          </p:cNvSpPr>
          <p:nvPr>
            <p:ph type="ctrTitle"/>
          </p:nvPr>
        </p:nvSpPr>
        <p:spPr>
          <a:xfrm>
            <a:off x="1143000" y="841772"/>
            <a:ext cx="6858000" cy="1790700"/>
          </a:xfrm>
        </p:spPr>
        <p:txBody>
          <a:bodyPr anchor="b"/>
          <a:lstStyle>
            <a:lvl1pPr algn="ctr">
              <a:defRPr sz="4500"/>
            </a:lvl1pPr>
          </a:lstStyle>
          <a:p>
            <a:r>
              <a:rPr lang="en-GB"/>
              <a:t>Click to edit Master title style</a:t>
            </a:r>
            <a:endParaRPr lang="en-US"/>
          </a:p>
        </p:txBody>
      </p:sp>
      <p:sp>
        <p:nvSpPr>
          <p:cNvPr id="3" name="Subtitle 2">
            <a:extLst>
              <a:ext uri="{FF2B5EF4-FFF2-40B4-BE49-F238E27FC236}">
                <a16:creationId xmlns:a16="http://schemas.microsoft.com/office/drawing/2014/main" id="{95A886DA-6228-4046-B1B2-624C66D9C6B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619359B-B7BA-D54C-A490-B05427237B87}"/>
              </a:ext>
            </a:extLst>
          </p:cNvPr>
          <p:cNvSpPr>
            <a:spLocks noGrp="1"/>
          </p:cNvSpPr>
          <p:nvPr>
            <p:ph type="dt" sz="half" idx="10"/>
          </p:nvPr>
        </p:nvSpPr>
        <p:spPr/>
        <p:txBody>
          <a:bodyPr/>
          <a:lstStyle/>
          <a:p>
            <a:fld id="{26157C5C-E507-A644-BB96-E159CA5C7476}" type="datetimeFigureOut">
              <a:rPr lang="en-US" smtClean="0"/>
              <a:t>12/2/2025</a:t>
            </a:fld>
            <a:endParaRPr lang="en-US" dirty="0"/>
          </a:p>
        </p:txBody>
      </p:sp>
      <p:sp>
        <p:nvSpPr>
          <p:cNvPr id="5" name="Footer Placeholder 4">
            <a:extLst>
              <a:ext uri="{FF2B5EF4-FFF2-40B4-BE49-F238E27FC236}">
                <a16:creationId xmlns:a16="http://schemas.microsoft.com/office/drawing/2014/main" id="{E4956D15-4D87-2E4D-9186-C385B88240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E8C3E36-EA78-394C-A75B-3299E10C2769}"/>
              </a:ext>
            </a:extLst>
          </p:cNvPr>
          <p:cNvSpPr>
            <a:spLocks noGrp="1"/>
          </p:cNvSpPr>
          <p:nvPr>
            <p:ph type="sldNum" sz="quarter" idx="12"/>
          </p:nvPr>
        </p:nvSpPr>
        <p:spPr/>
        <p:txBody>
          <a:bodyPr/>
          <a:lstStyle/>
          <a:p>
            <a:fld id="{792A440E-AFD6-054D-B7AF-00B940B0DAC6}" type="slidenum">
              <a:rPr lang="en-US" smtClean="0"/>
              <a:t>‹#›</a:t>
            </a:fld>
            <a:endParaRPr lang="en-US" dirty="0"/>
          </a:p>
        </p:txBody>
      </p:sp>
    </p:spTree>
    <p:extLst>
      <p:ext uri="{BB962C8B-B14F-4D97-AF65-F5344CB8AC3E}">
        <p14:creationId xmlns:p14="http://schemas.microsoft.com/office/powerpoint/2010/main" val="24767874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D_chart_layou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96865" y="908568"/>
            <a:ext cx="8532826" cy="285750"/>
          </a:xfrm>
          <a:prstGeom prst="rect">
            <a:avLst/>
          </a:prstGeom>
        </p:spPr>
        <p:txBody>
          <a:bodyPr/>
          <a:lstStyle>
            <a:lvl1pPr algn="ctr">
              <a:defRPr sz="1400" i="1">
                <a:solidFill>
                  <a:schemeClr val="tx1"/>
                </a:solidFill>
                <a:latin typeface="Georgia"/>
                <a:cs typeface="Georgia"/>
              </a:defRPr>
            </a:lvl1pPr>
            <a:lvl2pPr marL="90484" indent="0" algn="ctr">
              <a:buNone/>
              <a:defRPr sz="1400"/>
            </a:lvl2pPr>
          </a:lstStyle>
          <a:p>
            <a:pPr lvl="0"/>
            <a:r>
              <a:rPr lang="en-US"/>
              <a:t>Click to edit Master text styles</a:t>
            </a:r>
          </a:p>
        </p:txBody>
      </p:sp>
      <p:sp>
        <p:nvSpPr>
          <p:cNvPr id="6" name="Chart Placeholder 5"/>
          <p:cNvSpPr>
            <a:spLocks noGrp="1"/>
          </p:cNvSpPr>
          <p:nvPr>
            <p:ph type="chart" sz="quarter" idx="11"/>
          </p:nvPr>
        </p:nvSpPr>
        <p:spPr>
          <a:xfrm>
            <a:off x="297522" y="1262704"/>
            <a:ext cx="8532155" cy="308157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dirty="0">
                <a:solidFill>
                  <a:schemeClr val="lt1"/>
                </a:solidFill>
                <a:latin typeface="Arial"/>
              </a:defRPr>
            </a:lvl1pPr>
          </a:lstStyle>
          <a:p>
            <a:pPr lvl="0" algn="ctr">
              <a:lnSpc>
                <a:spcPct val="110000"/>
              </a:lnSpc>
              <a:spcBef>
                <a:spcPts val="200"/>
              </a:spcBef>
              <a:spcAft>
                <a:spcPts val="200"/>
              </a:spcAft>
            </a:pPr>
            <a:r>
              <a:rPr lang="en-US" dirty="0"/>
              <a:t>Click icon to add chart</a:t>
            </a:r>
            <a:endParaRPr lang="en-ZA" dirty="0"/>
          </a:p>
        </p:txBody>
      </p:sp>
      <p:sp>
        <p:nvSpPr>
          <p:cNvPr id="5" name="Title 1"/>
          <p:cNvSpPr>
            <a:spLocks noGrp="1"/>
          </p:cNvSpPr>
          <p:nvPr>
            <p:ph type="title"/>
          </p:nvPr>
        </p:nvSpPr>
        <p:spPr>
          <a:xfrm>
            <a:off x="297521" y="127002"/>
            <a:ext cx="7257393" cy="595313"/>
          </a:xfrm>
          <a:prstGeom prst="rect">
            <a:avLst/>
          </a:prstGeom>
        </p:spPr>
        <p:txBody>
          <a:bodyPr anchor="ctr"/>
          <a:lstStyle>
            <a:lvl1pPr>
              <a:defRPr b="1">
                <a:solidFill>
                  <a:srgbClr val="455565"/>
                </a:solidFill>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411273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NTT_title_and_content_page_dark">
    <p:bg bwMode="ltGray">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p:nvPr>
        </p:nvSpPr>
        <p:spPr>
          <a:xfrm>
            <a:off x="297520" y="127003"/>
            <a:ext cx="7293842" cy="595313"/>
          </a:xfrm>
          <a:prstGeom prst="rect">
            <a:avLst/>
          </a:prstGeom>
        </p:spPr>
        <p:txBody>
          <a:bodyPr anchor="ctr"/>
          <a:lstStyle>
            <a:lvl1pPr>
              <a:defRPr sz="24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297523" y="1146771"/>
            <a:ext cx="8532155" cy="3581335"/>
          </a:xfrm>
          <a:prstGeom prst="rect">
            <a:avLst/>
          </a:prstGeom>
        </p:spPr>
        <p:txBody>
          <a:bodyPr/>
          <a:lstStyle>
            <a:lvl1pPr algn="l">
              <a:defRPr sz="1800">
                <a:solidFill>
                  <a:schemeClr val="tx1"/>
                </a:solidFill>
                <a:latin typeface="Arial"/>
                <a:cs typeface="Arial"/>
              </a:defRPr>
            </a:lvl1pPr>
            <a:lvl2pPr algn="l">
              <a:defRPr sz="1400">
                <a:solidFill>
                  <a:schemeClr val="tx1"/>
                </a:solidFill>
                <a:latin typeface="Arial"/>
                <a:cs typeface="Arial"/>
              </a:defRPr>
            </a:lvl2pPr>
            <a:lvl3pPr algn="l">
              <a:defRPr sz="1200">
                <a:solidFill>
                  <a:schemeClr val="tx1"/>
                </a:solidFill>
                <a:latin typeface="Arial"/>
                <a:cs typeface="Arial"/>
              </a:defRPr>
            </a:lvl3pPr>
            <a:lvl4pPr algn="l">
              <a:defRPr sz="1100">
                <a:solidFill>
                  <a:schemeClr val="tx1"/>
                </a:solidFill>
                <a:latin typeface="Arial"/>
                <a:cs typeface="Arial"/>
              </a:defRPr>
            </a:lvl4pPr>
            <a:lvl5pPr algn="l">
              <a:defRPr sz="1100">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14576953"/>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6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rgbClr val="455565"/>
                </a:solidFill>
                <a:latin typeface="Arial"/>
                <a:cs typeface="Arial"/>
              </a:defRPr>
            </a:lvl1pPr>
            <a:lvl2pPr>
              <a:defRPr>
                <a:solidFill>
                  <a:srgbClr val="455565"/>
                </a:solidFill>
                <a:latin typeface="Arial"/>
                <a:cs typeface="Arial"/>
              </a:defRPr>
            </a:lvl2pPr>
            <a:lvl3pPr>
              <a:defRPr>
                <a:solidFill>
                  <a:srgbClr val="455565"/>
                </a:solidFill>
                <a:latin typeface="Arial"/>
                <a:cs typeface="Arial"/>
              </a:defRPr>
            </a:lvl3pPr>
            <a:lvl4pPr>
              <a:defRPr>
                <a:solidFill>
                  <a:srgbClr val="455565"/>
                </a:solidFill>
                <a:latin typeface="Arial"/>
                <a:cs typeface="Arial"/>
              </a:defRPr>
            </a:lvl4pPr>
            <a:lvl5pPr>
              <a:defRPr>
                <a:solidFill>
                  <a:srgbClr val="455565"/>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
        <p:nvSpPr>
          <p:cNvPr id="4" name="Title 1"/>
          <p:cNvSpPr>
            <a:spLocks noGrp="1"/>
          </p:cNvSpPr>
          <p:nvPr>
            <p:ph type="title"/>
          </p:nvPr>
        </p:nvSpPr>
        <p:spPr>
          <a:xfrm>
            <a:off x="297520" y="127000"/>
            <a:ext cx="7446383" cy="595314"/>
          </a:xfrm>
          <a:prstGeom prst="rect">
            <a:avLst/>
          </a:prstGeom>
        </p:spPr>
        <p:txBody>
          <a:bodyPr anchor="ctr"/>
          <a:lstStyle>
            <a:lvl1pPr>
              <a:defRPr b="1">
                <a:solidFill>
                  <a:srgbClr val="455565"/>
                </a:solidFill>
                <a:latin typeface="Arial"/>
                <a:cs typeface="Arial"/>
              </a:defRPr>
            </a:lvl1pPr>
          </a:lstStyle>
          <a:p>
            <a:r>
              <a:rPr lang="en-GB"/>
              <a:t>Click to edit Master title style</a:t>
            </a:r>
            <a:endParaRPr lang="en-ZA"/>
          </a:p>
        </p:txBody>
      </p:sp>
    </p:spTree>
    <p:extLst>
      <p:ext uri="{BB962C8B-B14F-4D97-AF65-F5344CB8AC3E}">
        <p14:creationId xmlns:p14="http://schemas.microsoft.com/office/powerpoint/2010/main" val="18494020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2" y="1451782"/>
            <a:ext cx="8532155" cy="3154945"/>
          </a:xfrm>
          <a:prstGeom prst="rect">
            <a:avLst/>
          </a:prstGeom>
        </p:spPr>
        <p:txBody>
          <a:bodyPr/>
          <a:lstStyle>
            <a:lvl1pPr>
              <a:defRPr>
                <a:solidFill>
                  <a:srgbClr val="455565"/>
                </a:solidFill>
                <a:latin typeface="Arial"/>
                <a:cs typeface="Arial"/>
              </a:defRPr>
            </a:lvl1pPr>
            <a:lvl2pPr>
              <a:defRPr>
                <a:solidFill>
                  <a:srgbClr val="455565"/>
                </a:solidFill>
                <a:latin typeface="Arial"/>
                <a:cs typeface="Arial"/>
              </a:defRPr>
            </a:lvl2pPr>
            <a:lvl3pPr>
              <a:defRPr>
                <a:solidFill>
                  <a:srgbClr val="455565"/>
                </a:solidFill>
                <a:latin typeface="Arial"/>
                <a:cs typeface="Arial"/>
              </a:defRPr>
            </a:lvl3pPr>
            <a:lvl4pPr>
              <a:defRPr>
                <a:solidFill>
                  <a:srgbClr val="455565"/>
                </a:solidFill>
                <a:latin typeface="Arial"/>
                <a:cs typeface="Arial"/>
              </a:defRPr>
            </a:lvl4pPr>
            <a:lvl5pPr>
              <a:defRPr>
                <a:solidFill>
                  <a:srgbClr val="455565"/>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1" y="127001"/>
            <a:ext cx="7446383" cy="394595"/>
          </a:xfrm>
          <a:prstGeom prst="rect">
            <a:avLst/>
          </a:prstGeom>
        </p:spPr>
        <p:txBody>
          <a:bodyPr anchor="ctr"/>
          <a:lstStyle>
            <a:lvl1pPr>
              <a:defRPr sz="1800" b="0">
                <a:solidFill>
                  <a:srgbClr val="455565"/>
                </a:solidFill>
                <a:latin typeface="Arial"/>
                <a:cs typeface="Arial"/>
              </a:defRPr>
            </a:lvl1pPr>
          </a:lstStyle>
          <a:p>
            <a:r>
              <a:rPr lang="en-US"/>
              <a:t>Click to edit Master title style</a:t>
            </a:r>
            <a:endParaRPr lang="en-ZA"/>
          </a:p>
        </p:txBody>
      </p:sp>
      <p:sp>
        <p:nvSpPr>
          <p:cNvPr id="5" name="Text Placeholder 6"/>
          <p:cNvSpPr>
            <a:spLocks noGrp="1"/>
          </p:cNvSpPr>
          <p:nvPr>
            <p:ph type="body" sz="quarter" idx="12"/>
          </p:nvPr>
        </p:nvSpPr>
        <p:spPr>
          <a:xfrm>
            <a:off x="296865" y="594000"/>
            <a:ext cx="8532826" cy="285750"/>
          </a:xfrm>
          <a:prstGeom prst="rect">
            <a:avLst/>
          </a:prstGeom>
        </p:spPr>
        <p:txBody>
          <a:bodyPr/>
          <a:lstStyle>
            <a:lvl1pPr algn="l">
              <a:defRPr sz="1200" i="1">
                <a:solidFill>
                  <a:schemeClr val="tx1"/>
                </a:solidFill>
                <a:latin typeface="+mj-lt"/>
                <a:cs typeface="Georgia"/>
              </a:defRPr>
            </a:lvl1pPr>
            <a:lvl2pPr marL="90484" indent="0" algn="ctr">
              <a:buNone/>
              <a:defRPr sz="1400"/>
            </a:lvl2pPr>
          </a:lstStyle>
          <a:p>
            <a:pPr lvl="0"/>
            <a:r>
              <a:rPr lang="en-US"/>
              <a:t>Click to edit Master text styles</a:t>
            </a:r>
          </a:p>
        </p:txBody>
      </p:sp>
    </p:spTree>
    <p:extLst>
      <p:ext uri="{BB962C8B-B14F-4D97-AF65-F5344CB8AC3E}">
        <p14:creationId xmlns:p14="http://schemas.microsoft.com/office/powerpoint/2010/main" val="871008373"/>
      </p:ext>
    </p:extLst>
  </p:cSld>
  <p:clrMapOvr>
    <a:masterClrMapping/>
  </p:clrMapOvr>
  <p:extLst>
    <p:ext uri="{DCECCB84-F9BA-43D5-87BE-67443E8EF086}">
      <p15:sldGuideLst xmlns:p15="http://schemas.microsoft.com/office/powerpoint/2012/main">
        <p15:guide id="1" pos="3840">
          <p15:clr>
            <a:srgbClr val="A4A3A4"/>
          </p15:clr>
        </p15:guide>
        <p15:guide id="2" pos="257">
          <p15:clr>
            <a:srgbClr val="A4A3A4"/>
          </p15:clr>
        </p15:guide>
        <p15:guide id="3" pos="7423">
          <p15:clr>
            <a:srgbClr val="A4A3A4"/>
          </p15:clr>
        </p15:guide>
        <p15:guide id="4" orient="horz" pos="2160">
          <p15:clr>
            <a:srgbClr val="A4A3A4"/>
          </p15:clr>
        </p15:guide>
        <p15:guide id="5" orient="horz" pos="731">
          <p15:clr>
            <a:srgbClr val="A4A3A4"/>
          </p15:clr>
        </p15:guide>
        <p15:guide id="6" orient="horz" pos="3884">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D_cover_page_with_image.02">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77D45B7B-B845-7843-8F59-B661E3885A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2" name="Text Placeholder 53"/>
          <p:cNvSpPr>
            <a:spLocks noGrp="1"/>
          </p:cNvSpPr>
          <p:nvPr>
            <p:ph type="body" sz="quarter" idx="10" hasCustomPrompt="1"/>
          </p:nvPr>
        </p:nvSpPr>
        <p:spPr>
          <a:xfrm>
            <a:off x="4140201" y="3029388"/>
            <a:ext cx="4820467"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Sub-heading/Speaker Name</a:t>
            </a:r>
          </a:p>
        </p:txBody>
      </p:sp>
      <p:sp>
        <p:nvSpPr>
          <p:cNvPr id="6" name="Text Placeholder 60"/>
          <p:cNvSpPr>
            <a:spLocks noGrp="1"/>
          </p:cNvSpPr>
          <p:nvPr>
            <p:ph type="body" sz="quarter" idx="11" hasCustomPrompt="1"/>
          </p:nvPr>
        </p:nvSpPr>
        <p:spPr>
          <a:xfrm>
            <a:off x="4140201" y="2571751"/>
            <a:ext cx="4820467" cy="457637"/>
          </a:xfrm>
          <a:prstGeom prst="rect">
            <a:avLst/>
          </a:prstGeom>
        </p:spPr>
        <p:txBody>
          <a:bodyPr vert="horz"/>
          <a:lstStyle>
            <a:lvl1pPr algn="r">
              <a:lnSpc>
                <a:spcPct val="80000"/>
              </a:lnSpc>
              <a:defRPr sz="2000" b="1" i="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pic>
        <p:nvPicPr>
          <p:cNvPr id="5" name="Picture 4">
            <a:extLst>
              <a:ext uri="{FF2B5EF4-FFF2-40B4-BE49-F238E27FC236}">
                <a16:creationId xmlns:a16="http://schemas.microsoft.com/office/drawing/2014/main" id="{48E3206B-2DE3-5D49-994C-E977D71800E6}"/>
              </a:ext>
            </a:extLst>
          </p:cNvPr>
          <p:cNvPicPr>
            <a:picLocks noChangeAspect="1"/>
          </p:cNvPicPr>
          <p:nvPr userDrawn="1"/>
        </p:nvPicPr>
        <p:blipFill>
          <a:blip r:embed="rId3"/>
          <a:stretch>
            <a:fillRect/>
          </a:stretch>
        </p:blipFill>
        <p:spPr>
          <a:xfrm>
            <a:off x="7716643" y="1"/>
            <a:ext cx="1104900" cy="1473200"/>
          </a:xfrm>
          <a:prstGeom prst="rect">
            <a:avLst/>
          </a:prstGeom>
        </p:spPr>
      </p:pic>
    </p:spTree>
    <p:extLst>
      <p:ext uri="{BB962C8B-B14F-4D97-AF65-F5344CB8AC3E}">
        <p14:creationId xmlns:p14="http://schemas.microsoft.com/office/powerpoint/2010/main" val="29967210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D_contents_page">
    <p:spTree>
      <p:nvGrpSpPr>
        <p:cNvPr id="1" name=""/>
        <p:cNvGrpSpPr/>
        <p:nvPr/>
      </p:nvGrpSpPr>
      <p:grpSpPr>
        <a:xfrm>
          <a:off x="0" y="0"/>
          <a:ext cx="0" cy="0"/>
          <a:chOff x="0" y="0"/>
          <a:chExt cx="0" cy="0"/>
        </a:xfrm>
      </p:grpSpPr>
      <p:pic>
        <p:nvPicPr>
          <p:cNvPr id="5" name="Picture 4" descr="A picture containing man, holding, ball, room&#10;&#10;Description automatically generated">
            <a:extLst>
              <a:ext uri="{FF2B5EF4-FFF2-40B4-BE49-F238E27FC236}">
                <a16:creationId xmlns:a16="http://schemas.microsoft.com/office/drawing/2014/main" id="{2ED1A41F-FB00-3C48-9CF6-1DCE0CED4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4" name="Title 1"/>
          <p:cNvSpPr>
            <a:spLocks noGrp="1"/>
          </p:cNvSpPr>
          <p:nvPr>
            <p:ph type="title" hasCustomPrompt="1"/>
          </p:nvPr>
        </p:nvSpPr>
        <p:spPr>
          <a:xfrm>
            <a:off x="307977" y="120752"/>
            <a:ext cx="7845434" cy="625335"/>
          </a:xfrm>
          <a:prstGeom prst="rect">
            <a:avLst/>
          </a:prstGeom>
        </p:spPr>
        <p:txBody>
          <a:bodyPr anchor="ctr"/>
          <a:lstStyle>
            <a:lvl1pPr>
              <a:defRPr b="1">
                <a:solidFill>
                  <a:schemeClr val="tx1"/>
                </a:solidFill>
                <a:latin typeface="Arial"/>
                <a:cs typeface="Arial"/>
              </a:defRPr>
            </a:lvl1pPr>
          </a:lstStyle>
          <a:p>
            <a:r>
              <a:rPr lang="en-US" dirty="0"/>
              <a:t>Contents</a:t>
            </a:r>
            <a:endParaRPr lang="en-ZA" dirty="0"/>
          </a:p>
        </p:txBody>
      </p:sp>
      <p:sp>
        <p:nvSpPr>
          <p:cNvPr id="8" name="Text Placeholder 7"/>
          <p:cNvSpPr>
            <a:spLocks noGrp="1"/>
          </p:cNvSpPr>
          <p:nvPr>
            <p:ph type="body" sz="quarter" idx="10" hasCustomPrompt="1"/>
          </p:nvPr>
        </p:nvSpPr>
        <p:spPr>
          <a:xfrm>
            <a:off x="300039" y="945248"/>
            <a:ext cx="1516072" cy="365125"/>
          </a:xfrm>
          <a:prstGeom prst="rect">
            <a:avLst/>
          </a:prstGeom>
        </p:spPr>
        <p:txBody>
          <a:bodyPr vert="horz"/>
          <a:lstStyle>
            <a:lvl1pPr>
              <a:defRPr b="1">
                <a:solidFill>
                  <a:schemeClr val="bg1"/>
                </a:solidFill>
                <a:latin typeface="Arial"/>
                <a:cs typeface="Arial"/>
              </a:defRPr>
            </a:lvl1pPr>
          </a:lstStyle>
          <a:p>
            <a:pPr lvl="0"/>
            <a:r>
              <a:rPr lang="en-US" dirty="0"/>
              <a:t>01</a:t>
            </a:r>
          </a:p>
        </p:txBody>
      </p:sp>
      <p:sp>
        <p:nvSpPr>
          <p:cNvPr id="18" name="Text Placeholder 17"/>
          <p:cNvSpPr>
            <a:spLocks noGrp="1"/>
          </p:cNvSpPr>
          <p:nvPr>
            <p:ph type="body" sz="quarter" idx="11" hasCustomPrompt="1"/>
          </p:nvPr>
        </p:nvSpPr>
        <p:spPr>
          <a:xfrm>
            <a:off x="300039" y="1453249"/>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38" name="Text Placeholder 7"/>
          <p:cNvSpPr>
            <a:spLocks noGrp="1"/>
          </p:cNvSpPr>
          <p:nvPr>
            <p:ph type="body" sz="quarter" idx="12" hasCustomPrompt="1"/>
          </p:nvPr>
        </p:nvSpPr>
        <p:spPr>
          <a:xfrm>
            <a:off x="1910907" y="945248"/>
            <a:ext cx="1516072" cy="365125"/>
          </a:xfrm>
          <a:prstGeom prst="rect">
            <a:avLst/>
          </a:prstGeom>
        </p:spPr>
        <p:txBody>
          <a:bodyPr vert="horz"/>
          <a:lstStyle>
            <a:lvl1pPr>
              <a:defRPr b="1">
                <a:solidFill>
                  <a:schemeClr val="bg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1910907" y="1453249"/>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41" name="Text Placeholder 7"/>
          <p:cNvSpPr>
            <a:spLocks noGrp="1"/>
          </p:cNvSpPr>
          <p:nvPr>
            <p:ph type="body" sz="quarter" idx="14" hasCustomPrompt="1"/>
          </p:nvPr>
        </p:nvSpPr>
        <p:spPr>
          <a:xfrm>
            <a:off x="3518250" y="945248"/>
            <a:ext cx="1516072" cy="365125"/>
          </a:xfrm>
          <a:prstGeom prst="rect">
            <a:avLst/>
          </a:prstGeom>
        </p:spPr>
        <p:txBody>
          <a:bodyPr vert="horz"/>
          <a:lstStyle>
            <a:lvl1pPr>
              <a:defRPr b="1">
                <a:solidFill>
                  <a:schemeClr val="bg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3518250" y="1453249"/>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5116767" y="945248"/>
            <a:ext cx="1516072" cy="365125"/>
          </a:xfrm>
          <a:prstGeom prst="rect">
            <a:avLst/>
          </a:prstGeom>
        </p:spPr>
        <p:txBody>
          <a:bodyPr vert="horz"/>
          <a:lstStyle>
            <a:lvl1pPr>
              <a:defRPr b="1">
                <a:solidFill>
                  <a:schemeClr val="bg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5116767" y="1453249"/>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300039" y="2747748"/>
            <a:ext cx="1516072" cy="365125"/>
          </a:xfrm>
          <a:prstGeom prst="rect">
            <a:avLst/>
          </a:prstGeom>
        </p:spPr>
        <p:txBody>
          <a:bodyPr vert="horz"/>
          <a:lstStyle>
            <a:lvl1pPr>
              <a:defRPr b="1">
                <a:solidFill>
                  <a:schemeClr val="bg1"/>
                </a:solidFill>
                <a:latin typeface="Arial"/>
                <a:cs typeface="Arial"/>
              </a:defRPr>
            </a:lvl1pPr>
          </a:lstStyle>
          <a:p>
            <a:pPr lvl="0"/>
            <a:r>
              <a:rPr lang="en-US" dirty="0"/>
              <a:t>05</a:t>
            </a:r>
          </a:p>
        </p:txBody>
      </p:sp>
      <p:sp>
        <p:nvSpPr>
          <p:cNvPr id="66" name="Text Placeholder 17"/>
          <p:cNvSpPr>
            <a:spLocks noGrp="1"/>
          </p:cNvSpPr>
          <p:nvPr>
            <p:ph type="body" sz="quarter" idx="21" hasCustomPrompt="1"/>
          </p:nvPr>
        </p:nvSpPr>
        <p:spPr>
          <a:xfrm>
            <a:off x="300039"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1910907" y="2747748"/>
            <a:ext cx="1516072" cy="365125"/>
          </a:xfrm>
          <a:prstGeom prst="rect">
            <a:avLst/>
          </a:prstGeom>
        </p:spPr>
        <p:txBody>
          <a:bodyPr vert="horz"/>
          <a:lstStyle>
            <a:lvl1pPr>
              <a:defRPr b="1">
                <a:solidFill>
                  <a:schemeClr val="bg1"/>
                </a:solidFill>
                <a:latin typeface="Arial"/>
                <a:cs typeface="Arial"/>
              </a:defRPr>
            </a:lvl1pPr>
          </a:lstStyle>
          <a:p>
            <a:pPr lvl="0"/>
            <a:r>
              <a:rPr lang="en-US" dirty="0"/>
              <a:t>06</a:t>
            </a:r>
          </a:p>
        </p:txBody>
      </p:sp>
      <p:sp>
        <p:nvSpPr>
          <p:cNvPr id="69" name="Text Placeholder 17"/>
          <p:cNvSpPr>
            <a:spLocks noGrp="1"/>
          </p:cNvSpPr>
          <p:nvPr>
            <p:ph type="body" sz="quarter" idx="23" hasCustomPrompt="1"/>
          </p:nvPr>
        </p:nvSpPr>
        <p:spPr>
          <a:xfrm>
            <a:off x="1910907"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71" name="Text Placeholder 7"/>
          <p:cNvSpPr>
            <a:spLocks noGrp="1"/>
          </p:cNvSpPr>
          <p:nvPr>
            <p:ph type="body" sz="quarter" idx="24" hasCustomPrompt="1"/>
          </p:nvPr>
        </p:nvSpPr>
        <p:spPr>
          <a:xfrm>
            <a:off x="3518250" y="2747748"/>
            <a:ext cx="1516072" cy="365125"/>
          </a:xfrm>
          <a:prstGeom prst="rect">
            <a:avLst/>
          </a:prstGeom>
        </p:spPr>
        <p:txBody>
          <a:bodyPr vert="horz"/>
          <a:lstStyle>
            <a:lvl1pPr>
              <a:defRPr b="1">
                <a:solidFill>
                  <a:schemeClr val="bg1"/>
                </a:solidFill>
                <a:latin typeface="Arial"/>
                <a:cs typeface="Arial"/>
              </a:defRPr>
            </a:lvl1pPr>
          </a:lstStyle>
          <a:p>
            <a:pPr lvl="0"/>
            <a:r>
              <a:rPr lang="en-US" dirty="0"/>
              <a:t>07</a:t>
            </a:r>
          </a:p>
        </p:txBody>
      </p:sp>
      <p:sp>
        <p:nvSpPr>
          <p:cNvPr id="72" name="Text Placeholder 17"/>
          <p:cNvSpPr>
            <a:spLocks noGrp="1"/>
          </p:cNvSpPr>
          <p:nvPr>
            <p:ph type="body" sz="quarter" idx="25" hasCustomPrompt="1"/>
          </p:nvPr>
        </p:nvSpPr>
        <p:spPr>
          <a:xfrm>
            <a:off x="3518250"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3175"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5116767" y="2747748"/>
            <a:ext cx="1516072" cy="365125"/>
          </a:xfrm>
          <a:prstGeom prst="rect">
            <a:avLst/>
          </a:prstGeom>
        </p:spPr>
        <p:txBody>
          <a:bodyPr vert="horz"/>
          <a:lstStyle>
            <a:lvl1pPr>
              <a:defRPr b="1">
                <a:solidFill>
                  <a:schemeClr val="bg1"/>
                </a:solidFill>
                <a:latin typeface="Arial"/>
                <a:cs typeface="Arial"/>
              </a:defRPr>
            </a:lvl1pPr>
          </a:lstStyle>
          <a:p>
            <a:pPr lvl="0"/>
            <a:r>
              <a:rPr lang="en-US" dirty="0"/>
              <a:t>08</a:t>
            </a:r>
          </a:p>
        </p:txBody>
      </p:sp>
      <p:sp>
        <p:nvSpPr>
          <p:cNvPr id="75" name="Text Placeholder 17"/>
          <p:cNvSpPr>
            <a:spLocks noGrp="1"/>
          </p:cNvSpPr>
          <p:nvPr>
            <p:ph type="body" sz="quarter" idx="27" hasCustomPrompt="1"/>
          </p:nvPr>
        </p:nvSpPr>
        <p:spPr>
          <a:xfrm>
            <a:off x="5116767" y="3255748"/>
            <a:ext cx="1516072" cy="952130"/>
          </a:xfrm>
          <a:prstGeom prst="rect">
            <a:avLst/>
          </a:prstGeom>
        </p:spPr>
        <p:txBody>
          <a:bodyPr vert="horz"/>
          <a:lstStyle>
            <a:lvl1pPr marL="0" indent="0">
              <a:lnSpc>
                <a:spcPct val="90000"/>
              </a:lnSpc>
              <a:buFont typeface="Arial"/>
              <a:buNone/>
              <a:defRPr sz="1200">
                <a:solidFill>
                  <a:schemeClr val="tx1"/>
                </a:solidFill>
                <a:latin typeface="Arial"/>
                <a:cs typeface="Arial"/>
              </a:defRPr>
            </a:lvl1pPr>
            <a:lvl2pPr marL="0" indent="0">
              <a:buNone/>
              <a:defRPr sz="1100">
                <a:solidFill>
                  <a:schemeClr val="tx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Tree>
    <p:extLst>
      <p:ext uri="{BB962C8B-B14F-4D97-AF65-F5344CB8AC3E}">
        <p14:creationId xmlns:p14="http://schemas.microsoft.com/office/powerpoint/2010/main" val="251940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D_divider_page">
    <p:spTree>
      <p:nvGrpSpPr>
        <p:cNvPr id="1" name=""/>
        <p:cNvGrpSpPr/>
        <p:nvPr/>
      </p:nvGrpSpPr>
      <p:grpSpPr>
        <a:xfrm>
          <a:off x="0" y="0"/>
          <a:ext cx="0" cy="0"/>
          <a:chOff x="0" y="0"/>
          <a:chExt cx="0" cy="0"/>
        </a:xfrm>
      </p:grpSpPr>
      <p:pic>
        <p:nvPicPr>
          <p:cNvPr id="4" name="Picture 3" descr="A picture containing sitting, computer, green, table&#10;&#10;Description automatically generated">
            <a:extLst>
              <a:ext uri="{FF2B5EF4-FFF2-40B4-BE49-F238E27FC236}">
                <a16:creationId xmlns:a16="http://schemas.microsoft.com/office/drawing/2014/main" id="{81C24F95-3CE0-B746-B17E-16B77DF8D60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9E202572-C6ED-114A-AEED-001E6F9E6B1A}"/>
              </a:ext>
            </a:extLst>
          </p:cNvPr>
          <p:cNvSpPr>
            <a:spLocks noGrp="1"/>
          </p:cNvSpPr>
          <p:nvPr>
            <p:ph type="body" sz="quarter" idx="10" hasCustomPrompt="1"/>
          </p:nvPr>
        </p:nvSpPr>
        <p:spPr>
          <a:xfrm>
            <a:off x="977156" y="2884821"/>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A8FC381E-3242-F54B-9052-7D3B49C8DA31}"/>
              </a:ext>
            </a:extLst>
          </p:cNvPr>
          <p:cNvSpPr>
            <a:spLocks noGrp="1"/>
          </p:cNvSpPr>
          <p:nvPr>
            <p:ph type="body" sz="quarter" idx="11" hasCustomPrompt="1"/>
          </p:nvPr>
        </p:nvSpPr>
        <p:spPr>
          <a:xfrm>
            <a:off x="977156" y="2362449"/>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38613721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DD_contents_page">
    <p:spTree>
      <p:nvGrpSpPr>
        <p:cNvPr id="1" name=""/>
        <p:cNvGrpSpPr/>
        <p:nvPr/>
      </p:nvGrpSpPr>
      <p:grpSpPr>
        <a:xfrm>
          <a:off x="0" y="0"/>
          <a:ext cx="0" cy="0"/>
          <a:chOff x="0" y="0"/>
          <a:chExt cx="0" cy="0"/>
        </a:xfrm>
      </p:grpSpPr>
      <p:pic>
        <p:nvPicPr>
          <p:cNvPr id="3" name="Picture 2" descr="A picture containing clock&#10;&#10;Description automatically generated">
            <a:extLst>
              <a:ext uri="{FF2B5EF4-FFF2-40B4-BE49-F238E27FC236}">
                <a16:creationId xmlns:a16="http://schemas.microsoft.com/office/drawing/2014/main" id="{87F89686-6D7C-B644-B3BF-F8252F1DD7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4" name="Title 1"/>
          <p:cNvSpPr>
            <a:spLocks noGrp="1"/>
          </p:cNvSpPr>
          <p:nvPr>
            <p:ph type="title" hasCustomPrompt="1"/>
          </p:nvPr>
        </p:nvSpPr>
        <p:spPr>
          <a:xfrm>
            <a:off x="490857" y="750673"/>
            <a:ext cx="7845434" cy="625335"/>
          </a:xfrm>
          <a:prstGeom prst="rect">
            <a:avLst/>
          </a:prstGeom>
        </p:spPr>
        <p:txBody>
          <a:bodyPr anchor="ctr"/>
          <a:lstStyle>
            <a:lvl1pPr>
              <a:defRPr b="1">
                <a:solidFill>
                  <a:schemeClr val="accent3"/>
                </a:solidFill>
                <a:latin typeface="Arial"/>
                <a:cs typeface="Arial"/>
              </a:defRPr>
            </a:lvl1pPr>
          </a:lstStyle>
          <a:p>
            <a:r>
              <a:rPr lang="en-US" dirty="0"/>
              <a:t>Contents</a:t>
            </a:r>
            <a:endParaRPr lang="en-ZA" dirty="0"/>
          </a:p>
        </p:txBody>
      </p:sp>
      <p:sp>
        <p:nvSpPr>
          <p:cNvPr id="8" name="Text Placeholder 7"/>
          <p:cNvSpPr>
            <a:spLocks noGrp="1"/>
          </p:cNvSpPr>
          <p:nvPr>
            <p:ph type="body" sz="quarter" idx="10" hasCustomPrompt="1"/>
          </p:nvPr>
        </p:nvSpPr>
        <p:spPr>
          <a:xfrm>
            <a:off x="482919" y="1575168"/>
            <a:ext cx="1516072" cy="365125"/>
          </a:xfrm>
          <a:prstGeom prst="rect">
            <a:avLst/>
          </a:prstGeom>
        </p:spPr>
        <p:txBody>
          <a:bodyPr vert="horz"/>
          <a:lstStyle>
            <a:lvl1pPr>
              <a:defRPr b="1">
                <a:solidFill>
                  <a:schemeClr val="accent1"/>
                </a:solidFill>
                <a:latin typeface="Arial"/>
                <a:cs typeface="Arial"/>
              </a:defRPr>
            </a:lvl1pPr>
          </a:lstStyle>
          <a:p>
            <a:pPr lvl="0"/>
            <a:r>
              <a:rPr lang="en-US" dirty="0"/>
              <a:t>01</a:t>
            </a:r>
          </a:p>
        </p:txBody>
      </p:sp>
      <p:sp>
        <p:nvSpPr>
          <p:cNvPr id="18" name="Text Placeholder 17"/>
          <p:cNvSpPr>
            <a:spLocks noGrp="1"/>
          </p:cNvSpPr>
          <p:nvPr>
            <p:ph type="body" sz="quarter" idx="11" hasCustomPrompt="1"/>
          </p:nvPr>
        </p:nvSpPr>
        <p:spPr>
          <a:xfrm>
            <a:off x="482919" y="2083168"/>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38" name="Text Placeholder 7"/>
          <p:cNvSpPr>
            <a:spLocks noGrp="1"/>
          </p:cNvSpPr>
          <p:nvPr>
            <p:ph type="body" sz="quarter" idx="12" hasCustomPrompt="1"/>
          </p:nvPr>
        </p:nvSpPr>
        <p:spPr>
          <a:xfrm>
            <a:off x="2093787" y="1575168"/>
            <a:ext cx="1516072" cy="365125"/>
          </a:xfrm>
          <a:prstGeom prst="rect">
            <a:avLst/>
          </a:prstGeom>
        </p:spPr>
        <p:txBody>
          <a:bodyPr vert="horz"/>
          <a:lstStyle>
            <a:lvl1pPr>
              <a:defRPr b="1">
                <a:solidFill>
                  <a:schemeClr val="accent1"/>
                </a:solidFill>
                <a:latin typeface="Arial"/>
                <a:cs typeface="Arial"/>
              </a:defRPr>
            </a:lvl1pPr>
          </a:lstStyle>
          <a:p>
            <a:pPr lvl="0"/>
            <a:r>
              <a:rPr lang="en-US"/>
              <a:t>02</a:t>
            </a:r>
          </a:p>
        </p:txBody>
      </p:sp>
      <p:sp>
        <p:nvSpPr>
          <p:cNvPr id="39" name="Text Placeholder 17"/>
          <p:cNvSpPr>
            <a:spLocks noGrp="1"/>
          </p:cNvSpPr>
          <p:nvPr>
            <p:ph type="body" sz="quarter" idx="13" hasCustomPrompt="1"/>
          </p:nvPr>
        </p:nvSpPr>
        <p:spPr>
          <a:xfrm>
            <a:off x="2093787" y="2083168"/>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41" name="Text Placeholder 7"/>
          <p:cNvSpPr>
            <a:spLocks noGrp="1"/>
          </p:cNvSpPr>
          <p:nvPr>
            <p:ph type="body" sz="quarter" idx="14" hasCustomPrompt="1"/>
          </p:nvPr>
        </p:nvSpPr>
        <p:spPr>
          <a:xfrm>
            <a:off x="3701130" y="1575168"/>
            <a:ext cx="1516072" cy="365125"/>
          </a:xfrm>
          <a:prstGeom prst="rect">
            <a:avLst/>
          </a:prstGeom>
        </p:spPr>
        <p:txBody>
          <a:bodyPr vert="horz"/>
          <a:lstStyle>
            <a:lvl1pPr>
              <a:defRPr b="1">
                <a:solidFill>
                  <a:schemeClr val="accent1"/>
                </a:solidFill>
                <a:latin typeface="Arial"/>
                <a:cs typeface="Arial"/>
              </a:defRPr>
            </a:lvl1pPr>
          </a:lstStyle>
          <a:p>
            <a:pPr lvl="0"/>
            <a:r>
              <a:rPr lang="en-US"/>
              <a:t>03</a:t>
            </a:r>
          </a:p>
        </p:txBody>
      </p:sp>
      <p:sp>
        <p:nvSpPr>
          <p:cNvPr id="42" name="Text Placeholder 17"/>
          <p:cNvSpPr>
            <a:spLocks noGrp="1"/>
          </p:cNvSpPr>
          <p:nvPr>
            <p:ph type="body" sz="quarter" idx="15" hasCustomPrompt="1"/>
          </p:nvPr>
        </p:nvSpPr>
        <p:spPr>
          <a:xfrm>
            <a:off x="3701130" y="2083168"/>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44" name="Text Placeholder 7"/>
          <p:cNvSpPr>
            <a:spLocks noGrp="1"/>
          </p:cNvSpPr>
          <p:nvPr>
            <p:ph type="body" sz="quarter" idx="16" hasCustomPrompt="1"/>
          </p:nvPr>
        </p:nvSpPr>
        <p:spPr>
          <a:xfrm>
            <a:off x="5299647" y="1575168"/>
            <a:ext cx="1516072" cy="365125"/>
          </a:xfrm>
          <a:prstGeom prst="rect">
            <a:avLst/>
          </a:prstGeom>
        </p:spPr>
        <p:txBody>
          <a:bodyPr vert="horz"/>
          <a:lstStyle>
            <a:lvl1pPr>
              <a:defRPr b="1">
                <a:solidFill>
                  <a:schemeClr val="accent1"/>
                </a:solidFill>
                <a:latin typeface="Arial"/>
                <a:cs typeface="Arial"/>
              </a:defRPr>
            </a:lvl1pPr>
          </a:lstStyle>
          <a:p>
            <a:pPr lvl="0"/>
            <a:r>
              <a:rPr lang="en-US"/>
              <a:t>04</a:t>
            </a:r>
          </a:p>
        </p:txBody>
      </p:sp>
      <p:sp>
        <p:nvSpPr>
          <p:cNvPr id="45" name="Text Placeholder 17"/>
          <p:cNvSpPr>
            <a:spLocks noGrp="1"/>
          </p:cNvSpPr>
          <p:nvPr>
            <p:ph type="body" sz="quarter" idx="17" hasCustomPrompt="1"/>
          </p:nvPr>
        </p:nvSpPr>
        <p:spPr>
          <a:xfrm>
            <a:off x="5299647" y="2083168"/>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5" name="Text Placeholder 7"/>
          <p:cNvSpPr>
            <a:spLocks noGrp="1"/>
          </p:cNvSpPr>
          <p:nvPr>
            <p:ph type="body" sz="quarter" idx="20" hasCustomPrompt="1"/>
          </p:nvPr>
        </p:nvSpPr>
        <p:spPr>
          <a:xfrm>
            <a:off x="482919" y="3377668"/>
            <a:ext cx="1516072" cy="365125"/>
          </a:xfrm>
          <a:prstGeom prst="rect">
            <a:avLst/>
          </a:prstGeom>
        </p:spPr>
        <p:txBody>
          <a:bodyPr vert="horz"/>
          <a:lstStyle>
            <a:lvl1pPr>
              <a:defRPr b="1">
                <a:solidFill>
                  <a:schemeClr val="accent1"/>
                </a:solidFill>
                <a:latin typeface="Arial"/>
                <a:cs typeface="Arial"/>
              </a:defRPr>
            </a:lvl1pPr>
          </a:lstStyle>
          <a:p>
            <a:pPr lvl="0"/>
            <a:r>
              <a:rPr lang="en-US" dirty="0"/>
              <a:t>05</a:t>
            </a:r>
          </a:p>
        </p:txBody>
      </p:sp>
      <p:sp>
        <p:nvSpPr>
          <p:cNvPr id="66" name="Text Placeholder 17"/>
          <p:cNvSpPr>
            <a:spLocks noGrp="1"/>
          </p:cNvSpPr>
          <p:nvPr>
            <p:ph type="body" sz="quarter" idx="21" hasCustomPrompt="1"/>
          </p:nvPr>
        </p:nvSpPr>
        <p:spPr>
          <a:xfrm>
            <a:off x="482919" y="3885669"/>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68" name="Text Placeholder 7"/>
          <p:cNvSpPr>
            <a:spLocks noGrp="1"/>
          </p:cNvSpPr>
          <p:nvPr>
            <p:ph type="body" sz="quarter" idx="22" hasCustomPrompt="1"/>
          </p:nvPr>
        </p:nvSpPr>
        <p:spPr>
          <a:xfrm>
            <a:off x="2093787" y="3377668"/>
            <a:ext cx="1516072" cy="365125"/>
          </a:xfrm>
          <a:prstGeom prst="rect">
            <a:avLst/>
          </a:prstGeom>
        </p:spPr>
        <p:txBody>
          <a:bodyPr vert="horz"/>
          <a:lstStyle>
            <a:lvl1pPr>
              <a:defRPr b="1">
                <a:solidFill>
                  <a:schemeClr val="accent1"/>
                </a:solidFill>
                <a:latin typeface="Arial"/>
                <a:cs typeface="Arial"/>
              </a:defRPr>
            </a:lvl1pPr>
          </a:lstStyle>
          <a:p>
            <a:pPr lvl="0"/>
            <a:r>
              <a:rPr lang="en-US" dirty="0"/>
              <a:t>07</a:t>
            </a:r>
          </a:p>
        </p:txBody>
      </p:sp>
      <p:sp>
        <p:nvSpPr>
          <p:cNvPr id="69" name="Text Placeholder 17"/>
          <p:cNvSpPr>
            <a:spLocks noGrp="1"/>
          </p:cNvSpPr>
          <p:nvPr>
            <p:ph type="body" sz="quarter" idx="23" hasCustomPrompt="1"/>
          </p:nvPr>
        </p:nvSpPr>
        <p:spPr>
          <a:xfrm>
            <a:off x="2093787" y="3885669"/>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p:txBody>
      </p:sp>
      <p:sp>
        <p:nvSpPr>
          <p:cNvPr id="71" name="Text Placeholder 7"/>
          <p:cNvSpPr>
            <a:spLocks noGrp="1"/>
          </p:cNvSpPr>
          <p:nvPr>
            <p:ph type="body" sz="quarter" idx="24" hasCustomPrompt="1"/>
          </p:nvPr>
        </p:nvSpPr>
        <p:spPr>
          <a:xfrm>
            <a:off x="3701130" y="3377668"/>
            <a:ext cx="1516072" cy="365125"/>
          </a:xfrm>
          <a:prstGeom prst="rect">
            <a:avLst/>
          </a:prstGeom>
        </p:spPr>
        <p:txBody>
          <a:bodyPr vert="horz"/>
          <a:lstStyle>
            <a:lvl1pPr>
              <a:defRPr b="1">
                <a:solidFill>
                  <a:schemeClr val="accent1"/>
                </a:solidFill>
                <a:latin typeface="Arial"/>
                <a:cs typeface="Arial"/>
              </a:defRPr>
            </a:lvl1pPr>
          </a:lstStyle>
          <a:p>
            <a:pPr lvl="0"/>
            <a:r>
              <a:rPr lang="en-US" dirty="0"/>
              <a:t>08</a:t>
            </a:r>
          </a:p>
        </p:txBody>
      </p:sp>
      <p:sp>
        <p:nvSpPr>
          <p:cNvPr id="72" name="Text Placeholder 17"/>
          <p:cNvSpPr>
            <a:spLocks noGrp="1"/>
          </p:cNvSpPr>
          <p:nvPr>
            <p:ph type="body" sz="quarter" idx="25" hasCustomPrompt="1"/>
          </p:nvPr>
        </p:nvSpPr>
        <p:spPr>
          <a:xfrm>
            <a:off x="3701130" y="3885669"/>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74" name="Text Placeholder 7"/>
          <p:cNvSpPr>
            <a:spLocks noGrp="1"/>
          </p:cNvSpPr>
          <p:nvPr>
            <p:ph type="body" sz="quarter" idx="26" hasCustomPrompt="1"/>
          </p:nvPr>
        </p:nvSpPr>
        <p:spPr>
          <a:xfrm>
            <a:off x="5299647" y="3377668"/>
            <a:ext cx="1516072" cy="365125"/>
          </a:xfrm>
          <a:prstGeom prst="rect">
            <a:avLst/>
          </a:prstGeom>
        </p:spPr>
        <p:txBody>
          <a:bodyPr vert="horz"/>
          <a:lstStyle>
            <a:lvl1pPr>
              <a:defRPr b="1">
                <a:solidFill>
                  <a:schemeClr val="accent1"/>
                </a:solidFill>
                <a:latin typeface="Arial"/>
                <a:cs typeface="Arial"/>
              </a:defRPr>
            </a:lvl1pPr>
          </a:lstStyle>
          <a:p>
            <a:pPr lvl="0"/>
            <a:r>
              <a:rPr lang="en-US" dirty="0"/>
              <a:t>09</a:t>
            </a:r>
          </a:p>
        </p:txBody>
      </p:sp>
      <p:sp>
        <p:nvSpPr>
          <p:cNvPr id="75" name="Text Placeholder 17"/>
          <p:cNvSpPr>
            <a:spLocks noGrp="1"/>
          </p:cNvSpPr>
          <p:nvPr>
            <p:ph type="body" sz="quarter" idx="27" hasCustomPrompt="1"/>
          </p:nvPr>
        </p:nvSpPr>
        <p:spPr>
          <a:xfrm>
            <a:off x="5299647" y="3885669"/>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0"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22" name="Text Placeholder 7">
            <a:extLst>
              <a:ext uri="{FF2B5EF4-FFF2-40B4-BE49-F238E27FC236}">
                <a16:creationId xmlns:a16="http://schemas.microsoft.com/office/drawing/2014/main" id="{5F4B7685-4694-6347-98BB-FDE882CF1380}"/>
              </a:ext>
            </a:extLst>
          </p:cNvPr>
          <p:cNvSpPr>
            <a:spLocks noGrp="1"/>
          </p:cNvSpPr>
          <p:nvPr>
            <p:ph type="body" sz="quarter" idx="28" hasCustomPrompt="1"/>
          </p:nvPr>
        </p:nvSpPr>
        <p:spPr>
          <a:xfrm>
            <a:off x="6899039" y="1585328"/>
            <a:ext cx="1516072" cy="365125"/>
          </a:xfrm>
          <a:prstGeom prst="rect">
            <a:avLst/>
          </a:prstGeom>
        </p:spPr>
        <p:txBody>
          <a:bodyPr vert="horz"/>
          <a:lstStyle>
            <a:lvl1pPr>
              <a:defRPr b="1">
                <a:solidFill>
                  <a:schemeClr val="accent1"/>
                </a:solidFill>
                <a:latin typeface="Arial"/>
                <a:cs typeface="Arial"/>
              </a:defRPr>
            </a:lvl1pPr>
          </a:lstStyle>
          <a:p>
            <a:pPr lvl="0"/>
            <a:r>
              <a:rPr lang="en-US" dirty="0"/>
              <a:t>05</a:t>
            </a:r>
          </a:p>
        </p:txBody>
      </p:sp>
      <p:sp>
        <p:nvSpPr>
          <p:cNvPr id="23" name="Text Placeholder 17">
            <a:extLst>
              <a:ext uri="{FF2B5EF4-FFF2-40B4-BE49-F238E27FC236}">
                <a16:creationId xmlns:a16="http://schemas.microsoft.com/office/drawing/2014/main" id="{9BE309EA-9FAF-C641-B530-94015B89DF6C}"/>
              </a:ext>
            </a:extLst>
          </p:cNvPr>
          <p:cNvSpPr>
            <a:spLocks noGrp="1"/>
          </p:cNvSpPr>
          <p:nvPr>
            <p:ph type="body" sz="quarter" idx="29" hasCustomPrompt="1"/>
          </p:nvPr>
        </p:nvSpPr>
        <p:spPr>
          <a:xfrm>
            <a:off x="6899039" y="2093329"/>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
        <p:nvSpPr>
          <p:cNvPr id="26" name="Text Placeholder 7">
            <a:extLst>
              <a:ext uri="{FF2B5EF4-FFF2-40B4-BE49-F238E27FC236}">
                <a16:creationId xmlns:a16="http://schemas.microsoft.com/office/drawing/2014/main" id="{77049F11-17F8-4E4E-9A7E-495E969B623F}"/>
              </a:ext>
            </a:extLst>
          </p:cNvPr>
          <p:cNvSpPr>
            <a:spLocks noGrp="1"/>
          </p:cNvSpPr>
          <p:nvPr>
            <p:ph type="body" sz="quarter" idx="32" hasCustomPrompt="1"/>
          </p:nvPr>
        </p:nvSpPr>
        <p:spPr>
          <a:xfrm>
            <a:off x="6899039" y="3387828"/>
            <a:ext cx="1516072" cy="365125"/>
          </a:xfrm>
          <a:prstGeom prst="rect">
            <a:avLst/>
          </a:prstGeom>
        </p:spPr>
        <p:txBody>
          <a:bodyPr vert="horz"/>
          <a:lstStyle>
            <a:lvl1pPr>
              <a:defRPr b="1">
                <a:solidFill>
                  <a:schemeClr val="accent1"/>
                </a:solidFill>
                <a:latin typeface="Arial"/>
                <a:cs typeface="Arial"/>
              </a:defRPr>
            </a:lvl1pPr>
          </a:lstStyle>
          <a:p>
            <a:pPr lvl="0"/>
            <a:r>
              <a:rPr lang="en-US" dirty="0"/>
              <a:t>10</a:t>
            </a:r>
          </a:p>
        </p:txBody>
      </p:sp>
      <p:sp>
        <p:nvSpPr>
          <p:cNvPr id="27" name="Text Placeholder 17">
            <a:extLst>
              <a:ext uri="{FF2B5EF4-FFF2-40B4-BE49-F238E27FC236}">
                <a16:creationId xmlns:a16="http://schemas.microsoft.com/office/drawing/2014/main" id="{B175CAA5-8494-9444-A35B-71208B760A9F}"/>
              </a:ext>
            </a:extLst>
          </p:cNvPr>
          <p:cNvSpPr>
            <a:spLocks noGrp="1"/>
          </p:cNvSpPr>
          <p:nvPr>
            <p:ph type="body" sz="quarter" idx="33" hasCustomPrompt="1"/>
          </p:nvPr>
        </p:nvSpPr>
        <p:spPr>
          <a:xfrm>
            <a:off x="6899039" y="3895828"/>
            <a:ext cx="1516072" cy="952130"/>
          </a:xfrm>
          <a:prstGeom prst="rect">
            <a:avLst/>
          </a:prstGeom>
        </p:spPr>
        <p:txBody>
          <a:bodyPr vert="horz"/>
          <a:lstStyle>
            <a:lvl1pPr marL="0" indent="0">
              <a:lnSpc>
                <a:spcPct val="90000"/>
              </a:lnSpc>
              <a:buFont typeface="Arial"/>
              <a:buNone/>
              <a:defRPr sz="1200">
                <a:solidFill>
                  <a:schemeClr val="bg1"/>
                </a:solidFill>
                <a:latin typeface="Arial"/>
                <a:cs typeface="Arial"/>
              </a:defRPr>
            </a:lvl1pPr>
            <a:lvl2pPr marL="3175" indent="0">
              <a:buNone/>
              <a:defRPr sz="11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a:t>Click to edit master text styles</a:t>
            </a:r>
          </a:p>
          <a:p>
            <a:pPr lvl="1"/>
            <a:r>
              <a:rPr lang="en-US"/>
              <a:t>Xxx</a:t>
            </a:r>
          </a:p>
          <a:p>
            <a:pPr lvl="1"/>
            <a:r>
              <a:rPr lang="en-US"/>
              <a:t>Xxx</a:t>
            </a:r>
          </a:p>
        </p:txBody>
      </p:sp>
    </p:spTree>
    <p:extLst>
      <p:ext uri="{BB962C8B-B14F-4D97-AF65-F5344CB8AC3E}">
        <p14:creationId xmlns:p14="http://schemas.microsoft.com/office/powerpoint/2010/main" val="34034353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D_chapter_page_with_image.02">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81B96197-2011-E649-8786-2FCDFDD028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0" hasCustomPrompt="1"/>
          </p:nvPr>
        </p:nvSpPr>
        <p:spPr>
          <a:xfrm>
            <a:off x="220911" y="1287521"/>
            <a:ext cx="1516072" cy="365125"/>
          </a:xfrm>
          <a:prstGeom prst="rect">
            <a:avLst/>
          </a:prstGeom>
        </p:spPr>
        <p:txBody>
          <a:bodyPr vert="horz"/>
          <a:lstStyle>
            <a:lvl1pPr>
              <a:defRPr sz="1600" b="1">
                <a:solidFill>
                  <a:schemeClr val="accent3"/>
                </a:solidFill>
                <a:latin typeface="Arial"/>
                <a:cs typeface="Arial"/>
              </a:defRPr>
            </a:lvl1pPr>
          </a:lstStyle>
          <a:p>
            <a:pPr lvl="0"/>
            <a:r>
              <a:rPr lang="en-US" dirty="0"/>
              <a:t>01</a:t>
            </a:r>
          </a:p>
        </p:txBody>
      </p:sp>
      <p:sp>
        <p:nvSpPr>
          <p:cNvPr id="18" name="Text Placeholder 17"/>
          <p:cNvSpPr>
            <a:spLocks noGrp="1"/>
          </p:cNvSpPr>
          <p:nvPr>
            <p:ph type="body" sz="quarter" idx="11"/>
          </p:nvPr>
        </p:nvSpPr>
        <p:spPr>
          <a:xfrm>
            <a:off x="220911" y="1795522"/>
            <a:ext cx="1516072" cy="2032963"/>
          </a:xfrm>
          <a:prstGeom prst="rect">
            <a:avLst/>
          </a:prstGeom>
        </p:spPr>
        <p:txBody>
          <a:bodyPr vert="horz"/>
          <a:lstStyle>
            <a:lvl1pPr>
              <a:lnSpc>
                <a:spcPct val="90000"/>
              </a:lnSpc>
              <a:defRPr sz="1200" b="1">
                <a:solidFill>
                  <a:srgbClr val="FFC000"/>
                </a:solidFill>
                <a:latin typeface="Arial"/>
                <a:cs typeface="Arial"/>
              </a:defRPr>
            </a:lvl1pPr>
            <a:lvl2pPr marL="3175" indent="0">
              <a:buNone/>
              <a:defRPr sz="1200">
                <a:solidFill>
                  <a:schemeClr val="bg1"/>
                </a:solidFill>
                <a:latin typeface="Arial"/>
                <a:cs typeface="Arial"/>
              </a:defRPr>
            </a:lvl2pPr>
            <a:lvl3pPr>
              <a:defRPr sz="1400">
                <a:latin typeface="Source Sans Pro"/>
                <a:cs typeface="Source Sans Pro"/>
              </a:defRPr>
            </a:lvl3pPr>
            <a:lvl4pPr>
              <a:defRPr sz="1400">
                <a:latin typeface="Source Sans Pro"/>
                <a:cs typeface="Source Sans Pro"/>
              </a:defRPr>
            </a:lvl4pPr>
            <a:lvl5pPr>
              <a:defRPr sz="1400">
                <a:latin typeface="Source Sans Pro"/>
                <a:cs typeface="Source Sans Pro"/>
              </a:defRPr>
            </a:lvl5pPr>
          </a:lstStyle>
          <a:p>
            <a:pPr lvl="0"/>
            <a:r>
              <a:rPr lang="en-US" dirty="0"/>
              <a:t>Click to edit Master text styles</a:t>
            </a:r>
          </a:p>
          <a:p>
            <a:pPr lvl="1"/>
            <a:r>
              <a:rPr lang="en-US" dirty="0"/>
              <a:t>Xxx</a:t>
            </a:r>
          </a:p>
          <a:p>
            <a:pPr lvl="1"/>
            <a:r>
              <a:rPr lang="en-US" dirty="0"/>
              <a:t>Xxx</a:t>
            </a:r>
          </a:p>
          <a:p>
            <a:pPr lvl="1"/>
            <a:r>
              <a:rPr lang="en-US" dirty="0"/>
              <a:t>Xxx</a:t>
            </a:r>
          </a:p>
        </p:txBody>
      </p:sp>
      <p:sp>
        <p:nvSpPr>
          <p:cNvPr id="54" name="Text Placeholder 53"/>
          <p:cNvSpPr>
            <a:spLocks noGrp="1"/>
          </p:cNvSpPr>
          <p:nvPr>
            <p:ph type="body" sz="quarter" idx="12"/>
          </p:nvPr>
        </p:nvSpPr>
        <p:spPr>
          <a:xfrm>
            <a:off x="2180004" y="1889125"/>
            <a:ext cx="6042769" cy="2091030"/>
          </a:xfrm>
          <a:prstGeom prst="rect">
            <a:avLst/>
          </a:prstGeom>
        </p:spPr>
        <p:txBody>
          <a:bodyPr vert="horz"/>
          <a:lstStyle>
            <a:lvl1pPr>
              <a:defRPr sz="1600" i="0">
                <a:solidFill>
                  <a:schemeClr val="bg1"/>
                </a:solidFill>
                <a:latin typeface="Arial"/>
                <a:cs typeface="Arial"/>
              </a:defRPr>
            </a:lvl1pPr>
          </a:lstStyle>
          <a:p>
            <a:pPr lvl="0"/>
            <a:endParaRPr lang="en-US" dirty="0"/>
          </a:p>
        </p:txBody>
      </p:sp>
      <p:sp>
        <p:nvSpPr>
          <p:cNvPr id="55" name="Text Placeholder 60"/>
          <p:cNvSpPr>
            <a:spLocks noGrp="1"/>
          </p:cNvSpPr>
          <p:nvPr>
            <p:ph type="body" sz="quarter" idx="13" hasCustomPrompt="1"/>
          </p:nvPr>
        </p:nvSpPr>
        <p:spPr>
          <a:xfrm>
            <a:off x="2180004" y="1293818"/>
            <a:ext cx="6042769" cy="420683"/>
          </a:xfrm>
          <a:prstGeom prst="rect">
            <a:avLst/>
          </a:prstGeom>
        </p:spPr>
        <p:txBody>
          <a:bodyPr vert="horz"/>
          <a:lstStyle>
            <a:lvl1pPr>
              <a:lnSpc>
                <a:spcPct val="80000"/>
              </a:lnSpc>
              <a:defRPr sz="2100" b="1">
                <a:solidFill>
                  <a:schemeClr val="accent3"/>
                </a:solidFill>
                <a:latin typeface="Arial"/>
                <a:cs typeface="Arial"/>
              </a:defRPr>
            </a:lvl1pPr>
          </a:lstStyle>
          <a:p>
            <a:pPr lvl="0"/>
            <a:r>
              <a:rPr lang="en-US" dirty="0"/>
              <a:t>Heading</a:t>
            </a:r>
          </a:p>
        </p:txBody>
      </p:sp>
    </p:spTree>
    <p:extLst>
      <p:ext uri="{BB962C8B-B14F-4D97-AF65-F5344CB8AC3E}">
        <p14:creationId xmlns:p14="http://schemas.microsoft.com/office/powerpoint/2010/main" val="987128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D_divider_pag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9813108-E169-FA48-9F5E-84E61C3B75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ext Placeholder 53"/>
          <p:cNvSpPr>
            <a:spLocks noGrp="1"/>
          </p:cNvSpPr>
          <p:nvPr>
            <p:ph type="body" sz="quarter" idx="10" hasCustomPrompt="1"/>
          </p:nvPr>
        </p:nvSpPr>
        <p:spPr>
          <a:xfrm>
            <a:off x="977157" y="2884822"/>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6" name="Text Placeholder 60"/>
          <p:cNvSpPr>
            <a:spLocks noGrp="1"/>
          </p:cNvSpPr>
          <p:nvPr>
            <p:ph type="body" sz="quarter" idx="11" hasCustomPrompt="1"/>
          </p:nvPr>
        </p:nvSpPr>
        <p:spPr>
          <a:xfrm>
            <a:off x="977157" y="2362450"/>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36403563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5_DD_divider_page">
    <p:spTree>
      <p:nvGrpSpPr>
        <p:cNvPr id="1" name=""/>
        <p:cNvGrpSpPr/>
        <p:nvPr/>
      </p:nvGrpSpPr>
      <p:grpSpPr>
        <a:xfrm>
          <a:off x="0" y="0"/>
          <a:ext cx="0" cy="0"/>
          <a:chOff x="0" y="0"/>
          <a:chExt cx="0" cy="0"/>
        </a:xfrm>
      </p:grpSpPr>
      <p:pic>
        <p:nvPicPr>
          <p:cNvPr id="4" name="Picture 3" descr="A picture containing sitting, clock&#10;&#10;Description automatically generated">
            <a:extLst>
              <a:ext uri="{FF2B5EF4-FFF2-40B4-BE49-F238E27FC236}">
                <a16:creationId xmlns:a16="http://schemas.microsoft.com/office/drawing/2014/main" id="{2C3522CF-9135-F647-925D-C460B7AAA5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ext Placeholder 53"/>
          <p:cNvSpPr>
            <a:spLocks noGrp="1"/>
          </p:cNvSpPr>
          <p:nvPr>
            <p:ph type="body" sz="quarter" idx="10" hasCustomPrompt="1"/>
          </p:nvPr>
        </p:nvSpPr>
        <p:spPr>
          <a:xfrm>
            <a:off x="977157" y="2884822"/>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6" name="Text Placeholder 60"/>
          <p:cNvSpPr>
            <a:spLocks noGrp="1"/>
          </p:cNvSpPr>
          <p:nvPr>
            <p:ph type="body" sz="quarter" idx="11" hasCustomPrompt="1"/>
          </p:nvPr>
        </p:nvSpPr>
        <p:spPr>
          <a:xfrm>
            <a:off x="977157" y="2362450"/>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15744934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DD_divider_page">
    <p:spTree>
      <p:nvGrpSpPr>
        <p:cNvPr id="1" name=""/>
        <p:cNvGrpSpPr/>
        <p:nvPr/>
      </p:nvGrpSpPr>
      <p:grpSpPr>
        <a:xfrm>
          <a:off x="0" y="0"/>
          <a:ext cx="0" cy="0"/>
          <a:chOff x="0" y="0"/>
          <a:chExt cx="0" cy="0"/>
        </a:xfrm>
      </p:grpSpPr>
      <p:pic>
        <p:nvPicPr>
          <p:cNvPr id="4" name="Picture 3" descr="A picture containing computer&#10;&#10;Description automatically generated">
            <a:extLst>
              <a:ext uri="{FF2B5EF4-FFF2-40B4-BE49-F238E27FC236}">
                <a16:creationId xmlns:a16="http://schemas.microsoft.com/office/drawing/2014/main" id="{9CB533F1-79C0-E542-A5B8-3349378CC9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52000" cy="5148000"/>
          </a:xfrm>
          <a:prstGeom prst="rect">
            <a:avLst/>
          </a:prstGeom>
        </p:spPr>
      </p:pic>
      <p:sp>
        <p:nvSpPr>
          <p:cNvPr id="7" name="Text Placeholder 53">
            <a:extLst>
              <a:ext uri="{FF2B5EF4-FFF2-40B4-BE49-F238E27FC236}">
                <a16:creationId xmlns:a16="http://schemas.microsoft.com/office/drawing/2014/main" id="{A5C3802E-9DDC-EF47-A275-93C5987CB666}"/>
              </a:ext>
            </a:extLst>
          </p:cNvPr>
          <p:cNvSpPr>
            <a:spLocks noGrp="1"/>
          </p:cNvSpPr>
          <p:nvPr>
            <p:ph type="body" sz="quarter" idx="10" hasCustomPrompt="1"/>
          </p:nvPr>
        </p:nvSpPr>
        <p:spPr>
          <a:xfrm>
            <a:off x="977157" y="2884822"/>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FE712216-73BE-2E4C-83DB-21C45280747B}"/>
              </a:ext>
            </a:extLst>
          </p:cNvPr>
          <p:cNvSpPr>
            <a:spLocks noGrp="1"/>
          </p:cNvSpPr>
          <p:nvPr>
            <p:ph type="body" sz="quarter" idx="11" hasCustomPrompt="1"/>
          </p:nvPr>
        </p:nvSpPr>
        <p:spPr>
          <a:xfrm>
            <a:off x="977157" y="2362450"/>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3506379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DD_divider_page">
    <p:spTree>
      <p:nvGrpSpPr>
        <p:cNvPr id="1" name=""/>
        <p:cNvGrpSpPr/>
        <p:nvPr/>
      </p:nvGrpSpPr>
      <p:grpSpPr>
        <a:xfrm>
          <a:off x="0" y="0"/>
          <a:ext cx="0" cy="0"/>
          <a:chOff x="0" y="0"/>
          <a:chExt cx="0" cy="0"/>
        </a:xfrm>
      </p:grpSpPr>
      <p:pic>
        <p:nvPicPr>
          <p:cNvPr id="6" name="Picture 5" descr="A picture containing computer&#10;&#10;Description automatically generated">
            <a:extLst>
              <a:ext uri="{FF2B5EF4-FFF2-40B4-BE49-F238E27FC236}">
                <a16:creationId xmlns:a16="http://schemas.microsoft.com/office/drawing/2014/main" id="{A66C899B-EC98-9245-8B04-D58C349C1F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1" b="483"/>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9E202572-C6ED-114A-AEED-001E6F9E6B1A}"/>
              </a:ext>
            </a:extLst>
          </p:cNvPr>
          <p:cNvSpPr>
            <a:spLocks noGrp="1"/>
          </p:cNvSpPr>
          <p:nvPr>
            <p:ph type="body" sz="quarter" idx="10" hasCustomPrompt="1"/>
          </p:nvPr>
        </p:nvSpPr>
        <p:spPr>
          <a:xfrm>
            <a:off x="977157" y="2884822"/>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A8FC381E-3242-F54B-9052-7D3B49C8DA31}"/>
              </a:ext>
            </a:extLst>
          </p:cNvPr>
          <p:cNvSpPr>
            <a:spLocks noGrp="1"/>
          </p:cNvSpPr>
          <p:nvPr>
            <p:ph type="body" sz="quarter" idx="11" hasCustomPrompt="1"/>
          </p:nvPr>
        </p:nvSpPr>
        <p:spPr>
          <a:xfrm>
            <a:off x="977157" y="2362450"/>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41000580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DD_divider_page">
    <p:spTree>
      <p:nvGrpSpPr>
        <p:cNvPr id="1" name=""/>
        <p:cNvGrpSpPr/>
        <p:nvPr/>
      </p:nvGrpSpPr>
      <p:grpSpPr>
        <a:xfrm>
          <a:off x="0" y="0"/>
          <a:ext cx="0" cy="0"/>
          <a:chOff x="0" y="0"/>
          <a:chExt cx="0" cy="0"/>
        </a:xfrm>
      </p:grpSpPr>
      <p:pic>
        <p:nvPicPr>
          <p:cNvPr id="4" name="Picture 3" descr="A picture containing laptop, computer&#10;&#10;Description automatically generated">
            <a:extLst>
              <a:ext uri="{FF2B5EF4-FFF2-40B4-BE49-F238E27FC236}">
                <a16:creationId xmlns:a16="http://schemas.microsoft.com/office/drawing/2014/main" id="{7FC40050-15CA-9243-94BC-832961A03D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6EE998F4-8791-B048-BE44-3EDB18DF9245}"/>
              </a:ext>
            </a:extLst>
          </p:cNvPr>
          <p:cNvSpPr>
            <a:spLocks noGrp="1"/>
          </p:cNvSpPr>
          <p:nvPr>
            <p:ph type="body" sz="quarter" idx="10" hasCustomPrompt="1"/>
          </p:nvPr>
        </p:nvSpPr>
        <p:spPr>
          <a:xfrm>
            <a:off x="977157" y="1023654"/>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8F01BF73-335E-5F4F-94C7-54B1337326D1}"/>
              </a:ext>
            </a:extLst>
          </p:cNvPr>
          <p:cNvSpPr>
            <a:spLocks noGrp="1"/>
          </p:cNvSpPr>
          <p:nvPr>
            <p:ph type="body" sz="quarter" idx="11" hasCustomPrompt="1"/>
          </p:nvPr>
        </p:nvSpPr>
        <p:spPr>
          <a:xfrm>
            <a:off x="977157" y="501282"/>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1361517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_DD_divider_page">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B1B867AE-E695-A34D-AEB0-A39B935150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B9DF6715-9E34-7E43-9506-61E134868ACB}"/>
              </a:ext>
            </a:extLst>
          </p:cNvPr>
          <p:cNvSpPr>
            <a:spLocks noGrp="1"/>
          </p:cNvSpPr>
          <p:nvPr>
            <p:ph type="body" sz="quarter" idx="10" hasCustomPrompt="1"/>
          </p:nvPr>
        </p:nvSpPr>
        <p:spPr>
          <a:xfrm>
            <a:off x="977157" y="1023654"/>
            <a:ext cx="7662019" cy="384175"/>
          </a:xfrm>
          <a:prstGeom prst="rect">
            <a:avLst/>
          </a:prstGeom>
        </p:spPr>
        <p:txBody>
          <a:bodyPr vert="horz"/>
          <a:lstStyle>
            <a:lvl1pPr algn="r">
              <a:defRPr sz="1600" b="0" i="0">
                <a:solidFill>
                  <a:schemeClr val="tx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9171F7E0-9DA0-F048-ACFF-797CCBB9AA30}"/>
              </a:ext>
            </a:extLst>
          </p:cNvPr>
          <p:cNvSpPr>
            <a:spLocks noGrp="1"/>
          </p:cNvSpPr>
          <p:nvPr>
            <p:ph type="body" sz="quarter" idx="11" hasCustomPrompt="1"/>
          </p:nvPr>
        </p:nvSpPr>
        <p:spPr>
          <a:xfrm>
            <a:off x="977157" y="501282"/>
            <a:ext cx="7662019" cy="468245"/>
          </a:xfrm>
          <a:prstGeom prst="rect">
            <a:avLst/>
          </a:prstGeom>
        </p:spPr>
        <p:txBody>
          <a:bodyPr vert="horz"/>
          <a:lstStyle>
            <a:lvl1pPr algn="r">
              <a:lnSpc>
                <a:spcPct val="80000"/>
              </a:lnSpc>
              <a:defRPr sz="2000" b="1" baseline="0">
                <a:solidFill>
                  <a:schemeClr val="tx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38274012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0"/>
            <a:ext cx="78508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5" name="Picture 4" descr="A picture containing food&#10;&#10;Description automatically generated">
            <a:extLst>
              <a:ext uri="{FF2B5EF4-FFF2-40B4-BE49-F238E27FC236}">
                <a16:creationId xmlns:a16="http://schemas.microsoft.com/office/drawing/2014/main" id="{6CCB722F-7CE3-F64E-847E-7F3A4248B6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57700"/>
            <a:ext cx="2235200" cy="685800"/>
          </a:xfrm>
          <a:prstGeom prst="rect">
            <a:avLst/>
          </a:prstGeom>
        </p:spPr>
      </p:pic>
      <p:pic>
        <p:nvPicPr>
          <p:cNvPr id="6" name="Picture 5">
            <a:extLst>
              <a:ext uri="{FF2B5EF4-FFF2-40B4-BE49-F238E27FC236}">
                <a16:creationId xmlns:a16="http://schemas.microsoft.com/office/drawing/2014/main" id="{A07DDE31-86E4-5D46-BCA7-B5F5E6FBA380}"/>
              </a:ext>
            </a:extLst>
          </p:cNvPr>
          <p:cNvPicPr>
            <a:picLocks noChangeAspect="1"/>
          </p:cNvPicPr>
          <p:nvPr userDrawn="1"/>
        </p:nvPicPr>
        <p:blipFill>
          <a:blip r:embed="rId3"/>
          <a:stretch>
            <a:fillRect/>
          </a:stretch>
        </p:blipFill>
        <p:spPr>
          <a:xfrm>
            <a:off x="8224519" y="132997"/>
            <a:ext cx="919481" cy="456284"/>
          </a:xfrm>
          <a:prstGeom prst="rect">
            <a:avLst/>
          </a:prstGeom>
        </p:spPr>
      </p:pic>
    </p:spTree>
    <p:extLst>
      <p:ext uri="{BB962C8B-B14F-4D97-AF65-F5344CB8AC3E}">
        <p14:creationId xmlns:p14="http://schemas.microsoft.com/office/powerpoint/2010/main" val="4181083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0"/>
            <a:ext cx="78508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7" name="Picture 6">
            <a:extLst>
              <a:ext uri="{FF2B5EF4-FFF2-40B4-BE49-F238E27FC236}">
                <a16:creationId xmlns:a16="http://schemas.microsoft.com/office/drawing/2014/main" id="{77E77A94-0947-894D-80EC-45E5783FC1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289839"/>
            <a:ext cx="9144000" cy="863600"/>
          </a:xfrm>
          <a:prstGeom prst="rect">
            <a:avLst/>
          </a:prstGeom>
        </p:spPr>
      </p:pic>
    </p:spTree>
    <p:extLst>
      <p:ext uri="{BB962C8B-B14F-4D97-AF65-F5344CB8AC3E}">
        <p14:creationId xmlns:p14="http://schemas.microsoft.com/office/powerpoint/2010/main" val="8431845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DD_divider_page">
    <p:spTree>
      <p:nvGrpSpPr>
        <p:cNvPr id="1" name=""/>
        <p:cNvGrpSpPr/>
        <p:nvPr/>
      </p:nvGrpSpPr>
      <p:grpSpPr>
        <a:xfrm>
          <a:off x="0" y="0"/>
          <a:ext cx="0" cy="0"/>
          <a:chOff x="0" y="0"/>
          <a:chExt cx="0" cy="0"/>
        </a:xfrm>
      </p:grpSpPr>
      <p:pic>
        <p:nvPicPr>
          <p:cNvPr id="4" name="Picture 3" descr="A picture containing laptop, computer&#10;&#10;Description automatically generated">
            <a:extLst>
              <a:ext uri="{FF2B5EF4-FFF2-40B4-BE49-F238E27FC236}">
                <a16:creationId xmlns:a16="http://schemas.microsoft.com/office/drawing/2014/main" id="{7FC40050-15CA-9243-94BC-832961A03D0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6EE998F4-8791-B048-BE44-3EDB18DF9245}"/>
              </a:ext>
            </a:extLst>
          </p:cNvPr>
          <p:cNvSpPr>
            <a:spLocks noGrp="1"/>
          </p:cNvSpPr>
          <p:nvPr>
            <p:ph type="body" sz="quarter" idx="10" hasCustomPrompt="1"/>
          </p:nvPr>
        </p:nvSpPr>
        <p:spPr>
          <a:xfrm>
            <a:off x="977156" y="1023653"/>
            <a:ext cx="7662019" cy="384175"/>
          </a:xfrm>
          <a:prstGeom prst="rect">
            <a:avLst/>
          </a:prstGeom>
        </p:spPr>
        <p:txBody>
          <a:bodyPr vert="horz"/>
          <a:lstStyle>
            <a:lvl1pPr algn="r">
              <a:defRPr sz="1600" b="0" i="0">
                <a:solidFill>
                  <a:schemeClr val="bg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8F01BF73-335E-5F4F-94C7-54B1337326D1}"/>
              </a:ext>
            </a:extLst>
          </p:cNvPr>
          <p:cNvSpPr>
            <a:spLocks noGrp="1"/>
          </p:cNvSpPr>
          <p:nvPr>
            <p:ph type="body" sz="quarter" idx="11" hasCustomPrompt="1"/>
          </p:nvPr>
        </p:nvSpPr>
        <p:spPr>
          <a:xfrm>
            <a:off x="977156" y="501281"/>
            <a:ext cx="7662019" cy="468245"/>
          </a:xfrm>
          <a:prstGeom prst="rect">
            <a:avLst/>
          </a:prstGeom>
        </p:spPr>
        <p:txBody>
          <a:bodyPr vert="horz"/>
          <a:lstStyle>
            <a:lvl1pPr algn="r">
              <a:lnSpc>
                <a:spcPct val="80000"/>
              </a:lnSpc>
              <a:defRPr sz="2000" b="1" baseline="0">
                <a:solidFill>
                  <a:schemeClr val="bg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40715421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0"/>
            <a:ext cx="78508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6" name="Picture 5">
            <a:extLst>
              <a:ext uri="{FF2B5EF4-FFF2-40B4-BE49-F238E27FC236}">
                <a16:creationId xmlns:a16="http://schemas.microsoft.com/office/drawing/2014/main" id="{A07DDE31-86E4-5D46-BCA7-B5F5E6FBA380}"/>
              </a:ext>
            </a:extLst>
          </p:cNvPr>
          <p:cNvPicPr>
            <a:picLocks noChangeAspect="1"/>
          </p:cNvPicPr>
          <p:nvPr userDrawn="1"/>
        </p:nvPicPr>
        <p:blipFill>
          <a:blip r:embed="rId2"/>
          <a:stretch>
            <a:fillRect/>
          </a:stretch>
        </p:blipFill>
        <p:spPr>
          <a:xfrm>
            <a:off x="8224519" y="132997"/>
            <a:ext cx="919481" cy="456284"/>
          </a:xfrm>
          <a:prstGeom prst="rect">
            <a:avLst/>
          </a:prstGeom>
        </p:spPr>
      </p:pic>
      <p:pic>
        <p:nvPicPr>
          <p:cNvPr id="5" name="Picture 4">
            <a:extLst>
              <a:ext uri="{FF2B5EF4-FFF2-40B4-BE49-F238E27FC236}">
                <a16:creationId xmlns:a16="http://schemas.microsoft.com/office/drawing/2014/main" id="{DB188305-B368-8A47-87DB-6C7CE92376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 y="4051300"/>
            <a:ext cx="9144000" cy="1092200"/>
          </a:xfrm>
          <a:prstGeom prst="rect">
            <a:avLst/>
          </a:prstGeom>
        </p:spPr>
      </p:pic>
    </p:spTree>
    <p:extLst>
      <p:ext uri="{BB962C8B-B14F-4D97-AF65-F5344CB8AC3E}">
        <p14:creationId xmlns:p14="http://schemas.microsoft.com/office/powerpoint/2010/main" val="35614167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0"/>
            <a:ext cx="78508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6" name="Picture 5">
            <a:extLst>
              <a:ext uri="{FF2B5EF4-FFF2-40B4-BE49-F238E27FC236}">
                <a16:creationId xmlns:a16="http://schemas.microsoft.com/office/drawing/2014/main" id="{A07DDE31-86E4-5D46-BCA7-B5F5E6FBA380}"/>
              </a:ext>
            </a:extLst>
          </p:cNvPr>
          <p:cNvPicPr>
            <a:picLocks noChangeAspect="1"/>
          </p:cNvPicPr>
          <p:nvPr userDrawn="1"/>
        </p:nvPicPr>
        <p:blipFill>
          <a:blip r:embed="rId2"/>
          <a:stretch>
            <a:fillRect/>
          </a:stretch>
        </p:blipFill>
        <p:spPr>
          <a:xfrm>
            <a:off x="8224519" y="132997"/>
            <a:ext cx="919481" cy="456284"/>
          </a:xfrm>
          <a:prstGeom prst="rect">
            <a:avLst/>
          </a:prstGeom>
        </p:spPr>
      </p:pic>
      <p:pic>
        <p:nvPicPr>
          <p:cNvPr id="7" name="Picture 6">
            <a:extLst>
              <a:ext uri="{FF2B5EF4-FFF2-40B4-BE49-F238E27FC236}">
                <a16:creationId xmlns:a16="http://schemas.microsoft.com/office/drawing/2014/main" id="{A9B51960-20E9-A14C-AF71-EBA3D79634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438450"/>
            <a:ext cx="9144000" cy="711200"/>
          </a:xfrm>
          <a:prstGeom prst="rect">
            <a:avLst/>
          </a:prstGeom>
        </p:spPr>
      </p:pic>
    </p:spTree>
    <p:extLst>
      <p:ext uri="{BB962C8B-B14F-4D97-AF65-F5344CB8AC3E}">
        <p14:creationId xmlns:p14="http://schemas.microsoft.com/office/powerpoint/2010/main" val="15992843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968821"/>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0"/>
            <a:ext cx="7800001"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6" name="Picture 5" descr="A close up of a logo&#10;&#10;Description automatically generated">
            <a:extLst>
              <a:ext uri="{FF2B5EF4-FFF2-40B4-BE49-F238E27FC236}">
                <a16:creationId xmlns:a16="http://schemas.microsoft.com/office/drawing/2014/main" id="{8423A229-F74B-664C-83A7-750007D194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21201"/>
            <a:ext cx="2260600" cy="622300"/>
          </a:xfrm>
          <a:prstGeom prst="rect">
            <a:avLst/>
          </a:prstGeom>
        </p:spPr>
      </p:pic>
      <p:pic>
        <p:nvPicPr>
          <p:cNvPr id="5" name="Picture 4">
            <a:extLst>
              <a:ext uri="{FF2B5EF4-FFF2-40B4-BE49-F238E27FC236}">
                <a16:creationId xmlns:a16="http://schemas.microsoft.com/office/drawing/2014/main" id="{58AC67CB-182F-6641-AB29-A5C2307F9128}"/>
              </a:ext>
            </a:extLst>
          </p:cNvPr>
          <p:cNvPicPr>
            <a:picLocks noChangeAspect="1"/>
          </p:cNvPicPr>
          <p:nvPr userDrawn="1"/>
        </p:nvPicPr>
        <p:blipFill>
          <a:blip r:embed="rId3"/>
          <a:stretch>
            <a:fillRect/>
          </a:stretch>
        </p:blipFill>
        <p:spPr>
          <a:xfrm>
            <a:off x="8224519" y="132997"/>
            <a:ext cx="919481" cy="456284"/>
          </a:xfrm>
          <a:prstGeom prst="rect">
            <a:avLst/>
          </a:prstGeom>
        </p:spPr>
      </p:pic>
    </p:spTree>
    <p:extLst>
      <p:ext uri="{BB962C8B-B14F-4D97-AF65-F5344CB8AC3E}">
        <p14:creationId xmlns:p14="http://schemas.microsoft.com/office/powerpoint/2010/main" val="39068115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2">
    <p:bg bwMode="ltGray">
      <p:bgPr>
        <a:solidFill>
          <a:srgbClr val="00000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rgbClr val="FFFFFF"/>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1" y="1146769"/>
            <a:ext cx="8532155" cy="3433324"/>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pic>
        <p:nvPicPr>
          <p:cNvPr id="6" name="Picture 5" descr="A picture containing food&#10;&#10;Description automatically generated">
            <a:extLst>
              <a:ext uri="{FF2B5EF4-FFF2-40B4-BE49-F238E27FC236}">
                <a16:creationId xmlns:a16="http://schemas.microsoft.com/office/drawing/2014/main" id="{E939E26C-1FC2-7048-952B-793922BF57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57700"/>
            <a:ext cx="2235200" cy="685800"/>
          </a:xfrm>
          <a:prstGeom prst="rect">
            <a:avLst/>
          </a:prstGeom>
        </p:spPr>
      </p:pic>
    </p:spTree>
    <p:extLst>
      <p:ext uri="{BB962C8B-B14F-4D97-AF65-F5344CB8AC3E}">
        <p14:creationId xmlns:p14="http://schemas.microsoft.com/office/powerpoint/2010/main" val="2790085729"/>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3">
    <p:bg bwMode="ltGray">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297520" y="127001"/>
            <a:ext cx="8532155" cy="595313"/>
          </a:xfrm>
          <a:prstGeom prst="rect">
            <a:avLst/>
          </a:prstGeom>
        </p:spPr>
        <p:txBody>
          <a:bodyPr anchor="ctr"/>
          <a:lstStyle>
            <a:lvl1pPr>
              <a:defRPr b="1">
                <a:solidFill>
                  <a:srgbClr val="FFFFFF"/>
                </a:solidFill>
                <a:latin typeface="Arial"/>
                <a:cs typeface="Arial"/>
              </a:defRPr>
            </a:lvl1pPr>
          </a:lstStyle>
          <a:p>
            <a:r>
              <a:rPr lang="en-US"/>
              <a:t>Click to edit Master title style</a:t>
            </a:r>
            <a:endParaRPr lang="en-ZA"/>
          </a:p>
        </p:txBody>
      </p:sp>
      <p:sp>
        <p:nvSpPr>
          <p:cNvPr id="5" name="Content Placeholder 2"/>
          <p:cNvSpPr>
            <a:spLocks noGrp="1"/>
          </p:cNvSpPr>
          <p:nvPr>
            <p:ph idx="1"/>
          </p:nvPr>
        </p:nvSpPr>
        <p:spPr>
          <a:xfrm>
            <a:off x="297521" y="1146769"/>
            <a:ext cx="8532155" cy="35813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descr="A picture containing food&#10;&#10;Description automatically generated">
            <a:extLst>
              <a:ext uri="{FF2B5EF4-FFF2-40B4-BE49-F238E27FC236}">
                <a16:creationId xmlns:a16="http://schemas.microsoft.com/office/drawing/2014/main" id="{1FF629C4-E47A-2543-A7F8-447889A4C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57700"/>
            <a:ext cx="2235200" cy="685800"/>
          </a:xfrm>
          <a:prstGeom prst="rect">
            <a:avLst/>
          </a:prstGeom>
        </p:spPr>
      </p:pic>
    </p:spTree>
    <p:extLst>
      <p:ext uri="{BB962C8B-B14F-4D97-AF65-F5344CB8AC3E}">
        <p14:creationId xmlns:p14="http://schemas.microsoft.com/office/powerpoint/2010/main" val="1956832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D_title_and_content_page.04">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97520" y="127001"/>
            <a:ext cx="7759361" cy="595313"/>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sp>
        <p:nvSpPr>
          <p:cNvPr id="8" name="Content Placeholder 2"/>
          <p:cNvSpPr>
            <a:spLocks noGrp="1"/>
          </p:cNvSpPr>
          <p:nvPr>
            <p:ph idx="1"/>
          </p:nvPr>
        </p:nvSpPr>
        <p:spPr>
          <a:xfrm>
            <a:off x="297521" y="1146770"/>
            <a:ext cx="8532155" cy="3384772"/>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4" name="Picture 3" descr="A picture containing food&#10;&#10;Description automatically generated">
            <a:extLst>
              <a:ext uri="{FF2B5EF4-FFF2-40B4-BE49-F238E27FC236}">
                <a16:creationId xmlns:a16="http://schemas.microsoft.com/office/drawing/2014/main" id="{D19EEE74-8970-DF4B-B228-A07D27D227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57700"/>
            <a:ext cx="2235200" cy="685800"/>
          </a:xfrm>
          <a:prstGeom prst="rect">
            <a:avLst/>
          </a:prstGeom>
        </p:spPr>
      </p:pic>
    </p:spTree>
    <p:extLst>
      <p:ext uri="{BB962C8B-B14F-4D97-AF65-F5344CB8AC3E}">
        <p14:creationId xmlns:p14="http://schemas.microsoft.com/office/powerpoint/2010/main" val="15671719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D_title_and_2column_content.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1056617"/>
            <a:ext cx="4121820" cy="3139560"/>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5"/>
          <p:cNvSpPr>
            <a:spLocks noGrp="1"/>
          </p:cNvSpPr>
          <p:nvPr>
            <p:ph type="body" sz="quarter" idx="12"/>
          </p:nvPr>
        </p:nvSpPr>
        <p:spPr>
          <a:xfrm>
            <a:off x="4724002" y="1056967"/>
            <a:ext cx="4123136" cy="313965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itle 1"/>
          <p:cNvSpPr>
            <a:spLocks noGrp="1"/>
          </p:cNvSpPr>
          <p:nvPr>
            <p:ph type="title"/>
          </p:nvPr>
        </p:nvSpPr>
        <p:spPr>
          <a:xfrm>
            <a:off x="297520" y="127002"/>
            <a:ext cx="7769521" cy="595312"/>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pic>
        <p:nvPicPr>
          <p:cNvPr id="7" name="Picture 6" descr="A picture containing food&#10;&#10;Description automatically generated">
            <a:extLst>
              <a:ext uri="{FF2B5EF4-FFF2-40B4-BE49-F238E27FC236}">
                <a16:creationId xmlns:a16="http://schemas.microsoft.com/office/drawing/2014/main" id="{CAABEA65-D093-CC46-AE04-385BB4DAF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57700"/>
            <a:ext cx="2235200" cy="685800"/>
          </a:xfrm>
          <a:prstGeom prst="rect">
            <a:avLst/>
          </a:prstGeom>
        </p:spPr>
      </p:pic>
      <p:pic>
        <p:nvPicPr>
          <p:cNvPr id="8" name="Picture 7">
            <a:extLst>
              <a:ext uri="{FF2B5EF4-FFF2-40B4-BE49-F238E27FC236}">
                <a16:creationId xmlns:a16="http://schemas.microsoft.com/office/drawing/2014/main" id="{621B7B26-61A4-264C-8BC1-30AF65EB2F02}"/>
              </a:ext>
            </a:extLst>
          </p:cNvPr>
          <p:cNvPicPr>
            <a:picLocks noChangeAspect="1"/>
          </p:cNvPicPr>
          <p:nvPr userDrawn="1"/>
        </p:nvPicPr>
        <p:blipFill>
          <a:blip r:embed="rId3"/>
          <a:stretch>
            <a:fillRect/>
          </a:stretch>
        </p:blipFill>
        <p:spPr>
          <a:xfrm>
            <a:off x="8224519" y="132997"/>
            <a:ext cx="919481" cy="456284"/>
          </a:xfrm>
          <a:prstGeom prst="rect">
            <a:avLst/>
          </a:prstGeom>
        </p:spPr>
      </p:pic>
    </p:spTree>
    <p:extLst>
      <p:ext uri="{BB962C8B-B14F-4D97-AF65-F5344CB8AC3E}">
        <p14:creationId xmlns:p14="http://schemas.microsoft.com/office/powerpoint/2010/main" val="36246784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D_chart_layou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96865" y="908568"/>
            <a:ext cx="8532826" cy="285750"/>
          </a:xfrm>
          <a:prstGeom prst="rect">
            <a:avLst/>
          </a:prstGeom>
        </p:spPr>
        <p:txBody>
          <a:bodyPr/>
          <a:lstStyle>
            <a:lvl1pPr algn="ctr">
              <a:defRPr sz="1400" b="0" i="0">
                <a:solidFill>
                  <a:schemeClr val="tx1"/>
                </a:solidFill>
                <a:latin typeface="Arial" panose="020B0604020202020204" pitchFamily="34" charset="0"/>
                <a:cs typeface="Arial" panose="020B0604020202020204" pitchFamily="34" charset="0"/>
              </a:defRPr>
            </a:lvl1pPr>
            <a:lvl2pPr marL="90486" indent="0" algn="ctr">
              <a:buNone/>
              <a:defRPr sz="1400"/>
            </a:lvl2pPr>
          </a:lstStyle>
          <a:p>
            <a:pPr lvl="0"/>
            <a:r>
              <a:rPr lang="en-US" dirty="0"/>
              <a:t>Click to edit Master text styles</a:t>
            </a:r>
          </a:p>
        </p:txBody>
      </p:sp>
      <p:sp>
        <p:nvSpPr>
          <p:cNvPr id="6" name="Chart Placeholder 5"/>
          <p:cNvSpPr>
            <a:spLocks noGrp="1"/>
          </p:cNvSpPr>
          <p:nvPr>
            <p:ph type="chart" sz="quarter" idx="11"/>
          </p:nvPr>
        </p:nvSpPr>
        <p:spPr>
          <a:xfrm>
            <a:off x="297521" y="1262703"/>
            <a:ext cx="8532155" cy="308157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dirty="0">
                <a:solidFill>
                  <a:schemeClr val="lt1"/>
                </a:solidFill>
                <a:latin typeface="Arial"/>
              </a:defRPr>
            </a:lvl1pPr>
          </a:lstStyle>
          <a:p>
            <a:pPr lvl="0" algn="ctr">
              <a:lnSpc>
                <a:spcPct val="110000"/>
              </a:lnSpc>
              <a:spcBef>
                <a:spcPts val="200"/>
              </a:spcBef>
              <a:spcAft>
                <a:spcPts val="200"/>
              </a:spcAft>
            </a:pPr>
            <a:r>
              <a:rPr lang="en-US" dirty="0"/>
              <a:t>Click icon to add chart</a:t>
            </a:r>
            <a:endParaRPr lang="en-ZA" dirty="0"/>
          </a:p>
        </p:txBody>
      </p:sp>
      <p:sp>
        <p:nvSpPr>
          <p:cNvPr id="5" name="Title 1"/>
          <p:cNvSpPr>
            <a:spLocks noGrp="1"/>
          </p:cNvSpPr>
          <p:nvPr>
            <p:ph type="title"/>
          </p:nvPr>
        </p:nvSpPr>
        <p:spPr>
          <a:xfrm>
            <a:off x="297520" y="127001"/>
            <a:ext cx="7749201" cy="595313"/>
          </a:xfrm>
          <a:prstGeom prst="rect">
            <a:avLst/>
          </a:prstGeom>
        </p:spPr>
        <p:txBody>
          <a:bodyPr anchor="ctr"/>
          <a:lstStyle>
            <a:lvl1pPr>
              <a:defRPr b="1">
                <a:solidFill>
                  <a:schemeClr val="tx1"/>
                </a:solidFill>
                <a:latin typeface="Arial"/>
                <a:cs typeface="Arial"/>
              </a:defRPr>
            </a:lvl1pPr>
          </a:lstStyle>
          <a:p>
            <a:r>
              <a:rPr lang="en-US" dirty="0"/>
              <a:t>Click to edit Master title style</a:t>
            </a:r>
            <a:endParaRPr lang="en-ZA" dirty="0"/>
          </a:p>
        </p:txBody>
      </p:sp>
      <p:pic>
        <p:nvPicPr>
          <p:cNvPr id="8" name="Picture 7" descr="A close up of a logo&#10;&#10;Description automatically generated">
            <a:extLst>
              <a:ext uri="{FF2B5EF4-FFF2-40B4-BE49-F238E27FC236}">
                <a16:creationId xmlns:a16="http://schemas.microsoft.com/office/drawing/2014/main" id="{774C5D1F-23A1-7940-9DE3-85BB4A870A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21201"/>
            <a:ext cx="2260600" cy="622300"/>
          </a:xfrm>
          <a:prstGeom prst="rect">
            <a:avLst/>
          </a:prstGeom>
        </p:spPr>
      </p:pic>
      <p:pic>
        <p:nvPicPr>
          <p:cNvPr id="9" name="Picture 8">
            <a:extLst>
              <a:ext uri="{FF2B5EF4-FFF2-40B4-BE49-F238E27FC236}">
                <a16:creationId xmlns:a16="http://schemas.microsoft.com/office/drawing/2014/main" id="{B6E2D474-1B9F-C344-BE67-37B7979F2915}"/>
              </a:ext>
            </a:extLst>
          </p:cNvPr>
          <p:cNvPicPr>
            <a:picLocks noChangeAspect="1"/>
          </p:cNvPicPr>
          <p:nvPr userDrawn="1"/>
        </p:nvPicPr>
        <p:blipFill>
          <a:blip r:embed="rId3"/>
          <a:stretch>
            <a:fillRect/>
          </a:stretch>
        </p:blipFill>
        <p:spPr>
          <a:xfrm>
            <a:off x="8224519" y="132997"/>
            <a:ext cx="919481" cy="456284"/>
          </a:xfrm>
          <a:prstGeom prst="rect">
            <a:avLst/>
          </a:prstGeom>
        </p:spPr>
      </p:pic>
    </p:spTree>
    <p:extLst>
      <p:ext uri="{BB962C8B-B14F-4D97-AF65-F5344CB8AC3E}">
        <p14:creationId xmlns:p14="http://schemas.microsoft.com/office/powerpoint/2010/main" val="19412899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D_chart_layout.01">
    <p:bg bwMode="ltGray">
      <p:bgPr>
        <a:solidFill>
          <a:srgbClr val="000000"/>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2" y="1146769"/>
            <a:ext cx="8532154"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itle 1"/>
          <p:cNvSpPr>
            <a:spLocks noGrp="1"/>
          </p:cNvSpPr>
          <p:nvPr>
            <p:ph type="title"/>
          </p:nvPr>
        </p:nvSpPr>
        <p:spPr>
          <a:xfrm>
            <a:off x="305923" y="135725"/>
            <a:ext cx="8532155" cy="595313"/>
          </a:xfrm>
          <a:prstGeom prst="rect">
            <a:avLst/>
          </a:prstGeom>
        </p:spPr>
        <p:txBody>
          <a:bodyPr anchor="ctr"/>
          <a:lstStyle>
            <a:lvl1pPr>
              <a:defRPr b="1">
                <a:solidFill>
                  <a:schemeClr val="bg1"/>
                </a:solidFill>
                <a:latin typeface="Arial"/>
                <a:cs typeface="Arial"/>
              </a:defRPr>
            </a:lvl1pPr>
          </a:lstStyle>
          <a:p>
            <a:r>
              <a:rPr lang="en-US" dirty="0"/>
              <a:t>Click to edit Master title style</a:t>
            </a:r>
            <a:endParaRPr lang="en-ZA" dirty="0"/>
          </a:p>
        </p:txBody>
      </p:sp>
      <p:sp>
        <p:nvSpPr>
          <p:cNvPr id="8" name="Text Placeholder 6"/>
          <p:cNvSpPr>
            <a:spLocks noGrp="1"/>
          </p:cNvSpPr>
          <p:nvPr>
            <p:ph type="body" sz="quarter" idx="12"/>
          </p:nvPr>
        </p:nvSpPr>
        <p:spPr>
          <a:xfrm>
            <a:off x="296865" y="756437"/>
            <a:ext cx="8532826" cy="285750"/>
          </a:xfrm>
          <a:prstGeom prst="rect">
            <a:avLst/>
          </a:prstGeom>
        </p:spPr>
        <p:txBody>
          <a:bodyPr/>
          <a:lstStyle>
            <a:lvl1pPr algn="l">
              <a:defRPr sz="1400" i="0">
                <a:solidFill>
                  <a:schemeClr val="bg1"/>
                </a:solidFill>
                <a:latin typeface="Arial" panose="020B0604020202020204" pitchFamily="34" charset="0"/>
                <a:cs typeface="Arial" panose="020B0604020202020204" pitchFamily="34" charset="0"/>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10569882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D_chart_layout.02">
    <p:bg bwMode="ltGray">
      <p:bgPr>
        <a:solidFill>
          <a:schemeClr val="bg2"/>
        </a:solidFill>
        <a:effectLst/>
      </p:bgPr>
    </p:bg>
    <p:spTree>
      <p:nvGrpSpPr>
        <p:cNvPr id="1" name=""/>
        <p:cNvGrpSpPr/>
        <p:nvPr/>
      </p:nvGrpSpPr>
      <p:grpSpPr>
        <a:xfrm>
          <a:off x="0" y="0"/>
          <a:ext cx="0" cy="0"/>
          <a:chOff x="0" y="0"/>
          <a:chExt cx="0" cy="0"/>
        </a:xfrm>
      </p:grpSpPr>
      <p:sp>
        <p:nvSpPr>
          <p:cNvPr id="6" name="Content Placeholder 2"/>
          <p:cNvSpPr>
            <a:spLocks noGrp="1"/>
          </p:cNvSpPr>
          <p:nvPr>
            <p:ph idx="1"/>
          </p:nvPr>
        </p:nvSpPr>
        <p:spPr>
          <a:xfrm>
            <a:off x="297521" y="1146769"/>
            <a:ext cx="8532155" cy="3612935"/>
          </a:xfrm>
          <a:prstGeom prst="rect">
            <a:avLst/>
          </a:prstGeom>
        </p:spPr>
        <p:txBody>
          <a:bodyPr/>
          <a:lstStyle>
            <a:lvl1pPr algn="l">
              <a:defRPr>
                <a:solidFill>
                  <a:schemeClr val="bg1"/>
                </a:solidFill>
                <a:latin typeface="Arial"/>
                <a:cs typeface="Arial"/>
              </a:defRPr>
            </a:lvl1pPr>
            <a:lvl2pPr algn="l">
              <a:defRPr>
                <a:solidFill>
                  <a:schemeClr val="bg1"/>
                </a:solidFill>
                <a:latin typeface="Arial"/>
                <a:cs typeface="Arial"/>
              </a:defRPr>
            </a:lvl2pPr>
            <a:lvl3pPr algn="l">
              <a:defRPr>
                <a:solidFill>
                  <a:schemeClr val="bg1"/>
                </a:solidFill>
                <a:latin typeface="Arial"/>
                <a:cs typeface="Arial"/>
              </a:defRPr>
            </a:lvl3pPr>
            <a:lvl4pPr algn="l">
              <a:defRPr>
                <a:solidFill>
                  <a:schemeClr val="bg1"/>
                </a:solidFill>
                <a:latin typeface="Arial"/>
                <a:cs typeface="Arial"/>
              </a:defRPr>
            </a:lvl4pPr>
            <a:lvl5pPr algn="l">
              <a:defRPr>
                <a:solidFill>
                  <a:schemeClr val="bg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itle 1"/>
          <p:cNvSpPr>
            <a:spLocks noGrp="1"/>
          </p:cNvSpPr>
          <p:nvPr>
            <p:ph type="title"/>
          </p:nvPr>
        </p:nvSpPr>
        <p:spPr>
          <a:xfrm>
            <a:off x="297521" y="127001"/>
            <a:ext cx="8532154" cy="595313"/>
          </a:xfrm>
          <a:prstGeom prst="rect">
            <a:avLst/>
          </a:prstGeom>
        </p:spPr>
        <p:txBody>
          <a:bodyPr anchor="ctr"/>
          <a:lstStyle>
            <a:lvl1pPr>
              <a:defRPr b="1">
                <a:solidFill>
                  <a:schemeClr val="bg1"/>
                </a:solidFill>
                <a:latin typeface="Arial"/>
                <a:cs typeface="Arial"/>
              </a:defRPr>
            </a:lvl1pPr>
          </a:lstStyle>
          <a:p>
            <a:r>
              <a:rPr lang="en-US"/>
              <a:t>Click to edit Master title style</a:t>
            </a:r>
            <a:endParaRPr lang="en-ZA"/>
          </a:p>
        </p:txBody>
      </p:sp>
      <p:sp>
        <p:nvSpPr>
          <p:cNvPr id="8" name="Text Placeholder 6"/>
          <p:cNvSpPr>
            <a:spLocks noGrp="1"/>
          </p:cNvSpPr>
          <p:nvPr>
            <p:ph type="body" sz="quarter" idx="12"/>
          </p:nvPr>
        </p:nvSpPr>
        <p:spPr>
          <a:xfrm>
            <a:off x="296864" y="756437"/>
            <a:ext cx="8532825" cy="285750"/>
          </a:xfrm>
          <a:prstGeom prst="rect">
            <a:avLst/>
          </a:prstGeom>
        </p:spPr>
        <p:txBody>
          <a:bodyPr/>
          <a:lstStyle>
            <a:lvl1pPr algn="l">
              <a:defRPr sz="1400" i="0">
                <a:solidFill>
                  <a:schemeClr val="bg1"/>
                </a:solidFill>
                <a:latin typeface="Arial" panose="020B0604020202020204" pitchFamily="34" charset="0"/>
                <a:cs typeface="Arial" panose="020B0604020202020204" pitchFamily="34" charset="0"/>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3058615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_DD_divider_page">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B1B867AE-E695-A34D-AEB0-A39B935150A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 Placeholder 53">
            <a:extLst>
              <a:ext uri="{FF2B5EF4-FFF2-40B4-BE49-F238E27FC236}">
                <a16:creationId xmlns:a16="http://schemas.microsoft.com/office/drawing/2014/main" id="{B9DF6715-9E34-7E43-9506-61E134868ACB}"/>
              </a:ext>
            </a:extLst>
          </p:cNvPr>
          <p:cNvSpPr>
            <a:spLocks noGrp="1"/>
          </p:cNvSpPr>
          <p:nvPr>
            <p:ph type="body" sz="quarter" idx="10" hasCustomPrompt="1"/>
          </p:nvPr>
        </p:nvSpPr>
        <p:spPr>
          <a:xfrm>
            <a:off x="977156" y="1023653"/>
            <a:ext cx="7662019" cy="384175"/>
          </a:xfrm>
          <a:prstGeom prst="rect">
            <a:avLst/>
          </a:prstGeom>
        </p:spPr>
        <p:txBody>
          <a:bodyPr vert="horz"/>
          <a:lstStyle>
            <a:lvl1pPr algn="r">
              <a:defRPr sz="1600" b="0" i="0">
                <a:solidFill>
                  <a:schemeClr val="tx1"/>
                </a:solidFill>
                <a:latin typeface="Arial" panose="020B0604020202020204" pitchFamily="34" charset="0"/>
                <a:cs typeface="Arial" panose="020B0604020202020204" pitchFamily="34" charset="0"/>
              </a:defRPr>
            </a:lvl1pPr>
          </a:lstStyle>
          <a:p>
            <a:pPr lvl="0"/>
            <a:r>
              <a:rPr lang="en-US" dirty="0"/>
              <a:t>Divider slide</a:t>
            </a:r>
          </a:p>
        </p:txBody>
      </p:sp>
      <p:sp>
        <p:nvSpPr>
          <p:cNvPr id="9" name="Text Placeholder 60">
            <a:extLst>
              <a:ext uri="{FF2B5EF4-FFF2-40B4-BE49-F238E27FC236}">
                <a16:creationId xmlns:a16="http://schemas.microsoft.com/office/drawing/2014/main" id="{9171F7E0-9DA0-F048-ACFF-797CCBB9AA30}"/>
              </a:ext>
            </a:extLst>
          </p:cNvPr>
          <p:cNvSpPr>
            <a:spLocks noGrp="1"/>
          </p:cNvSpPr>
          <p:nvPr>
            <p:ph type="body" sz="quarter" idx="11" hasCustomPrompt="1"/>
          </p:nvPr>
        </p:nvSpPr>
        <p:spPr>
          <a:xfrm>
            <a:off x="977156" y="501281"/>
            <a:ext cx="7662019" cy="468245"/>
          </a:xfrm>
          <a:prstGeom prst="rect">
            <a:avLst/>
          </a:prstGeom>
        </p:spPr>
        <p:txBody>
          <a:bodyPr vert="horz"/>
          <a:lstStyle>
            <a:lvl1pPr algn="r">
              <a:lnSpc>
                <a:spcPct val="80000"/>
              </a:lnSpc>
              <a:defRPr sz="2000" b="1" baseline="0">
                <a:solidFill>
                  <a:schemeClr val="tx1"/>
                </a:solidFill>
                <a:latin typeface="Arial"/>
                <a:cs typeface="Arial"/>
              </a:defRPr>
            </a:lvl1pPr>
          </a:lstStyle>
          <a:p>
            <a:pPr lvl="0"/>
            <a:r>
              <a:rPr lang="en-US" dirty="0"/>
              <a:t>Heading of next section</a:t>
            </a:r>
          </a:p>
        </p:txBody>
      </p:sp>
    </p:spTree>
    <p:extLst>
      <p:ext uri="{BB962C8B-B14F-4D97-AF65-F5344CB8AC3E}">
        <p14:creationId xmlns:p14="http://schemas.microsoft.com/office/powerpoint/2010/main" val="7787004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D_chart_layout.03">
    <p:bg bwMode="ltGray">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1" y="1146769"/>
            <a:ext cx="8532155" cy="3612935"/>
          </a:xfrm>
          <a:prstGeom prst="rect">
            <a:avLst/>
          </a:prstGeom>
        </p:spPr>
        <p:txBody>
          <a:bodyPr/>
          <a:lstStyle>
            <a:lvl1pPr algn="l">
              <a:defRPr>
                <a:solidFill>
                  <a:schemeClr val="tx1"/>
                </a:solidFill>
                <a:latin typeface="Arial"/>
                <a:cs typeface="Arial"/>
              </a:defRPr>
            </a:lvl1pPr>
            <a:lvl2pPr algn="l">
              <a:defRPr>
                <a:solidFill>
                  <a:schemeClr val="tx1"/>
                </a:solidFill>
                <a:latin typeface="Arial"/>
                <a:cs typeface="Arial"/>
              </a:defRPr>
            </a:lvl2pPr>
            <a:lvl3pPr algn="l">
              <a:defRPr>
                <a:solidFill>
                  <a:schemeClr val="tx1"/>
                </a:solidFill>
                <a:latin typeface="Arial"/>
                <a:cs typeface="Arial"/>
              </a:defRPr>
            </a:lvl3pPr>
            <a:lvl4pPr algn="l">
              <a:defRPr>
                <a:solidFill>
                  <a:schemeClr val="tx1"/>
                </a:solidFill>
                <a:latin typeface="Arial"/>
                <a:cs typeface="Arial"/>
              </a:defRPr>
            </a:lvl4pPr>
            <a:lvl5pPr algn="l">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20" y="127001"/>
            <a:ext cx="8532155" cy="595313"/>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sp>
        <p:nvSpPr>
          <p:cNvPr id="5" name="Text Placeholder 6"/>
          <p:cNvSpPr>
            <a:spLocks noGrp="1"/>
          </p:cNvSpPr>
          <p:nvPr>
            <p:ph type="body" sz="quarter" idx="12"/>
          </p:nvPr>
        </p:nvSpPr>
        <p:spPr>
          <a:xfrm>
            <a:off x="296865" y="756437"/>
            <a:ext cx="8532826" cy="285750"/>
          </a:xfrm>
          <a:prstGeom prst="rect">
            <a:avLst/>
          </a:prstGeom>
        </p:spPr>
        <p:txBody>
          <a:bodyPr/>
          <a:lstStyle>
            <a:lvl1pPr algn="ctr">
              <a:defRPr sz="1400" b="0" i="0">
                <a:solidFill>
                  <a:schemeClr val="tx1"/>
                </a:solidFill>
                <a:latin typeface="Arial" panose="020B0604020202020204" pitchFamily="34" charset="0"/>
                <a:cs typeface="Arial" panose="020B0604020202020204" pitchFamily="34" charset="0"/>
              </a:defRPr>
            </a:lvl1pPr>
            <a:lvl2pPr marL="90486" indent="0" algn="ctr">
              <a:buNone/>
              <a:defRPr sz="1400"/>
            </a:lvl2pPr>
          </a:lstStyle>
          <a:p>
            <a:pPr lvl="0"/>
            <a:r>
              <a:rPr lang="en-US" dirty="0"/>
              <a:t>Click to edit Master text styles</a:t>
            </a:r>
          </a:p>
        </p:txBody>
      </p:sp>
    </p:spTree>
    <p:extLst>
      <p:ext uri="{BB962C8B-B14F-4D97-AF65-F5344CB8AC3E}">
        <p14:creationId xmlns:p14="http://schemas.microsoft.com/office/powerpoint/2010/main" val="9181522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grey_background">
    <p:bg bwMode="ltGray">
      <p:bgPr>
        <a:solidFill>
          <a:schemeClr val="tx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8"/>
            <a:ext cx="2854058" cy="2415309"/>
          </a:xfrm>
          <a:prstGeom prst="roundRect">
            <a:avLst>
              <a:gd name="adj" fmla="val 0"/>
            </a:avLst>
          </a:prstGeom>
          <a:solidFill>
            <a:schemeClr val="bg2"/>
          </a:solidFill>
          <a:ln>
            <a:noFill/>
          </a:ln>
          <a:effectLst/>
        </p:spPr>
        <p:txBody>
          <a:bodyPr anchor="ctr"/>
          <a:lstStyle>
            <a:lvl1pPr algn="l">
              <a:defRPr sz="2400">
                <a:solidFill>
                  <a:schemeClr val="tx1"/>
                </a:solidFill>
                <a:latin typeface="Arial"/>
                <a:cs typeface="Arial"/>
              </a:defRPr>
            </a:lvl1pPr>
            <a:lvl2pPr algn="l">
              <a:defRPr>
                <a:solidFill>
                  <a:schemeClr val="tx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4" name="Text Placeholder 4"/>
          <p:cNvSpPr>
            <a:spLocks noGrp="1"/>
          </p:cNvSpPr>
          <p:nvPr>
            <p:ph type="body" sz="quarter" idx="13"/>
          </p:nvPr>
        </p:nvSpPr>
        <p:spPr>
          <a:xfrm>
            <a:off x="307810" y="3394327"/>
            <a:ext cx="2374356" cy="1449193"/>
          </a:xfrm>
          <a:prstGeom prst="roundRect">
            <a:avLst>
              <a:gd name="adj" fmla="val 0"/>
            </a:avLst>
          </a:prstGeom>
          <a:solidFill>
            <a:schemeClr val="bg1"/>
          </a:solidFill>
          <a:ln>
            <a:noFill/>
          </a:ln>
          <a:effectLst/>
        </p:spPr>
        <p:txBody>
          <a:bodyPr anchor="ctr"/>
          <a:lstStyle>
            <a:lvl1pPr algn="l">
              <a:defRPr sz="2000" b="1">
                <a:solidFill>
                  <a:schemeClr val="tx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5" name="Text Placeholder 4"/>
          <p:cNvSpPr>
            <a:spLocks noGrp="1"/>
          </p:cNvSpPr>
          <p:nvPr>
            <p:ph type="body" sz="quarter" idx="14"/>
          </p:nvPr>
        </p:nvSpPr>
        <p:spPr>
          <a:xfrm>
            <a:off x="2813538" y="3394327"/>
            <a:ext cx="6112151" cy="1449193"/>
          </a:xfrm>
          <a:prstGeom prst="roundRect">
            <a:avLst>
              <a:gd name="adj" fmla="val 0"/>
            </a:avLst>
          </a:prstGeom>
          <a:solidFill>
            <a:schemeClr val="accent1"/>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9" y="858958"/>
            <a:ext cx="2036258" cy="2415309"/>
          </a:xfrm>
          <a:prstGeom prst="roundRect">
            <a:avLst>
              <a:gd name="adj" fmla="val 0"/>
            </a:avLst>
          </a:prstGeom>
          <a:solidFill>
            <a:schemeClr val="accent5"/>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2"/>
            <a:ext cx="3499434" cy="1850277"/>
          </a:xfrm>
          <a:prstGeom prst="roundRect">
            <a:avLst>
              <a:gd name="adj" fmla="val 0"/>
            </a:avLst>
          </a:prstGeom>
          <a:solidFill>
            <a:schemeClr val="tx2"/>
          </a:solidFill>
          <a:ln>
            <a:noFill/>
          </a:ln>
          <a:effectLst/>
        </p:spPr>
        <p:txBody>
          <a:bodyPr anchor="ctr"/>
          <a:lstStyle>
            <a:lvl1pPr algn="l">
              <a:defRPr sz="2400">
                <a:solidFill>
                  <a:schemeClr val="tx1"/>
                </a:solidFill>
                <a:effectLst/>
                <a:latin typeface="Arial"/>
                <a:cs typeface="Arial"/>
              </a:defRPr>
            </a:lvl1pPr>
            <a:lvl2pPr algn="l">
              <a:defRPr>
                <a:solidFill>
                  <a:schemeClr val="tx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bg1"/>
          </a:solidFill>
          <a:ln>
            <a:noFill/>
          </a:ln>
          <a:effectLst/>
        </p:spPr>
        <p:txBody>
          <a:bodyPr anchor="ctr"/>
          <a:lstStyle>
            <a:lvl1pPr algn="r">
              <a:defRPr>
                <a:solidFill>
                  <a:srgbClr val="455565"/>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307811" y="142522"/>
            <a:ext cx="5034629" cy="563513"/>
          </a:xfrm>
          <a:prstGeom prst="rect">
            <a:avLst/>
          </a:prstGeom>
        </p:spPr>
        <p:txBody>
          <a:bodyPr/>
          <a:lstStyle>
            <a:lvl1pPr algn="l">
              <a:defRPr sz="2200"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6842178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blue_background">
    <p:bg bwMode="ltGray">
      <p:bgPr>
        <a:solidFill>
          <a:schemeClr val="accent1"/>
        </a:solidFill>
        <a:effectLst/>
      </p:bgPr>
    </p:bg>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8"/>
            <a:ext cx="2854058" cy="2415309"/>
          </a:xfrm>
          <a:prstGeom prst="roundRect">
            <a:avLst>
              <a:gd name="adj" fmla="val 0"/>
            </a:avLst>
          </a:prstGeom>
          <a:solidFill>
            <a:schemeClr val="accent2"/>
          </a:solidFill>
          <a:ln>
            <a:noFill/>
          </a:ln>
          <a:effectLst/>
        </p:spPr>
        <p:txBody>
          <a:bodyPr anchor="ctr"/>
          <a:lstStyle>
            <a:lvl1pPr marL="179384" indent="0" algn="l">
              <a:defRPr sz="2400">
                <a:solidFill>
                  <a:srgbClr val="FFFFFF"/>
                </a:solidFill>
                <a:latin typeface="Arial"/>
                <a:cs typeface="Arial"/>
              </a:defRPr>
            </a:lvl1pPr>
            <a:lvl2pPr marL="644509" indent="-285743" algn="l">
              <a:buFont typeface="Arial" panose="020B0604020202020204" pitchFamily="34" charset="0"/>
              <a:buChar char="•"/>
              <a:defRPr>
                <a:solidFill>
                  <a:srgbClr val="FFFFFF"/>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4" name="Text Placeholder 4"/>
          <p:cNvSpPr>
            <a:spLocks noGrp="1"/>
          </p:cNvSpPr>
          <p:nvPr>
            <p:ph type="body" sz="quarter" idx="13"/>
          </p:nvPr>
        </p:nvSpPr>
        <p:spPr>
          <a:xfrm>
            <a:off x="307810" y="3394327"/>
            <a:ext cx="2374356" cy="1449193"/>
          </a:xfrm>
          <a:prstGeom prst="roundRect">
            <a:avLst>
              <a:gd name="adj" fmla="val 0"/>
            </a:avLst>
          </a:prstGeom>
          <a:solidFill>
            <a:schemeClr val="bg1"/>
          </a:solidFill>
          <a:ln>
            <a:noFill/>
          </a:ln>
          <a:effectLst/>
        </p:spPr>
        <p:txBody>
          <a:bodyPr anchor="ctr"/>
          <a:lstStyle>
            <a:lvl1pPr algn="l">
              <a:defRPr sz="2000" b="1">
                <a:solidFill>
                  <a:srgbClr val="455565"/>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14"/>
          </p:nvPr>
        </p:nvSpPr>
        <p:spPr>
          <a:xfrm>
            <a:off x="2813538" y="3386235"/>
            <a:ext cx="6112151" cy="1449193"/>
          </a:xfrm>
          <a:prstGeom prst="roundRect">
            <a:avLst>
              <a:gd name="adj" fmla="val 0"/>
            </a:avLst>
          </a:prstGeom>
          <a:solidFill>
            <a:schemeClr val="bg2"/>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9" y="850865"/>
            <a:ext cx="2036258" cy="2415309"/>
          </a:xfrm>
          <a:prstGeom prst="roundRect">
            <a:avLst>
              <a:gd name="adj" fmla="val 0"/>
            </a:avLst>
          </a:prstGeom>
          <a:solidFill>
            <a:schemeClr val="bg2"/>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2"/>
            <a:ext cx="3499434" cy="1850277"/>
          </a:xfrm>
          <a:prstGeom prst="roundRect">
            <a:avLst>
              <a:gd name="adj" fmla="val 0"/>
            </a:avLst>
          </a:prstGeom>
          <a:solidFill>
            <a:schemeClr val="accent3"/>
          </a:solidFill>
          <a:ln>
            <a:noFill/>
          </a:ln>
          <a:effectLst/>
        </p:spPr>
        <p:txBody>
          <a:bodyPr anchor="ctr"/>
          <a:lstStyle>
            <a:lvl1pPr marL="179384" indent="0" algn="l">
              <a:defRPr sz="2400">
                <a:solidFill>
                  <a:srgbClr val="FFFFFF"/>
                </a:solidFill>
                <a:effectLst/>
                <a:latin typeface="Arial"/>
                <a:cs typeface="Arial"/>
              </a:defRPr>
            </a:lvl1pPr>
            <a:lvl2pPr marL="465125" indent="-285743" algn="l">
              <a:buFont typeface="Arial" panose="020B0604020202020204" pitchFamily="34" charset="0"/>
              <a:buChar char="•"/>
              <a:defRPr>
                <a:solidFill>
                  <a:srgbClr val="FFFFFF"/>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bg1"/>
          </a:solidFill>
          <a:ln>
            <a:noFill/>
          </a:ln>
          <a:effectLst/>
        </p:spPr>
        <p:txBody>
          <a:bodyPr anchor="ctr"/>
          <a:lstStyle>
            <a:lvl1pPr algn="r">
              <a:defRPr>
                <a:solidFill>
                  <a:srgbClr val="455565"/>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 name="Title 1"/>
          <p:cNvSpPr>
            <a:spLocks noGrp="1"/>
          </p:cNvSpPr>
          <p:nvPr>
            <p:ph type="title"/>
          </p:nvPr>
        </p:nvSpPr>
        <p:spPr>
          <a:xfrm>
            <a:off x="307811" y="142522"/>
            <a:ext cx="5034629" cy="563513"/>
          </a:xfrm>
          <a:prstGeom prst="rect">
            <a:avLst/>
          </a:prstGeom>
        </p:spPr>
        <p:txBody>
          <a:bodyPr/>
          <a:lstStyle>
            <a:lvl1pPr algn="l">
              <a:defRPr sz="2200" b="1">
                <a:latin typeface="Arial"/>
                <a:cs typeface="Arial"/>
              </a:defRPr>
            </a:lvl1pPr>
          </a:lstStyle>
          <a:p>
            <a:r>
              <a:rPr lang="en-US"/>
              <a:t>Click to edit Master title style</a:t>
            </a:r>
            <a:endParaRPr lang="en-ZA"/>
          </a:p>
        </p:txBody>
      </p:sp>
    </p:spTree>
    <p:extLst>
      <p:ext uri="{BB962C8B-B14F-4D97-AF65-F5344CB8AC3E}">
        <p14:creationId xmlns:p14="http://schemas.microsoft.com/office/powerpoint/2010/main" val="26983328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white_background">
    <p:spTree>
      <p:nvGrpSpPr>
        <p:cNvPr id="1" name=""/>
        <p:cNvGrpSpPr/>
        <p:nvPr/>
      </p:nvGrpSpPr>
      <p:grpSpPr>
        <a:xfrm>
          <a:off x="0" y="0"/>
          <a:ext cx="0" cy="0"/>
          <a:chOff x="0" y="0"/>
          <a:chExt cx="0" cy="0"/>
        </a:xfrm>
      </p:grpSpPr>
      <p:sp>
        <p:nvSpPr>
          <p:cNvPr id="23" name="Text Placeholder 4"/>
          <p:cNvSpPr>
            <a:spLocks noGrp="1"/>
          </p:cNvSpPr>
          <p:nvPr>
            <p:ph type="body" sz="quarter" idx="12"/>
          </p:nvPr>
        </p:nvSpPr>
        <p:spPr>
          <a:xfrm>
            <a:off x="307810" y="858958"/>
            <a:ext cx="2854058" cy="2415309"/>
          </a:xfrm>
          <a:prstGeom prst="roundRect">
            <a:avLst>
              <a:gd name="adj" fmla="val 0"/>
            </a:avLst>
          </a:prstGeom>
          <a:solidFill>
            <a:schemeClr val="accent1"/>
          </a:solidFill>
          <a:ln>
            <a:noFill/>
          </a:ln>
          <a:effectLst/>
        </p:spPr>
        <p:txBody>
          <a:bodyPr anchor="ctr"/>
          <a:lstStyle>
            <a:lvl1pPr marL="87311" indent="0" algn="l">
              <a:defRPr sz="2400">
                <a:solidFill>
                  <a:schemeClr val="bg1"/>
                </a:solidFill>
                <a:latin typeface="Arial"/>
                <a:cs typeface="Arial"/>
              </a:defRPr>
            </a:lvl1pPr>
            <a:lvl2pPr marL="373054" indent="-285743" algn="l">
              <a:buFont typeface="Arial" panose="020B0604020202020204" pitchFamily="34" charset="0"/>
              <a:buChar char="•"/>
              <a:defRPr>
                <a:solidFill>
                  <a:schemeClr val="bg1"/>
                </a:solidFill>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4" name="Text Placeholder 4"/>
          <p:cNvSpPr>
            <a:spLocks noGrp="1"/>
          </p:cNvSpPr>
          <p:nvPr>
            <p:ph type="body" sz="quarter" idx="13"/>
          </p:nvPr>
        </p:nvSpPr>
        <p:spPr>
          <a:xfrm>
            <a:off x="307810" y="3394327"/>
            <a:ext cx="2374356" cy="1449193"/>
          </a:xfrm>
          <a:prstGeom prst="roundRect">
            <a:avLst>
              <a:gd name="adj" fmla="val 0"/>
            </a:avLst>
          </a:prstGeom>
          <a:solidFill>
            <a:schemeClr val="bg2"/>
          </a:solidFill>
          <a:ln>
            <a:noFill/>
          </a:ln>
          <a:effectLst/>
        </p:spPr>
        <p:txBody>
          <a:bodyPr anchor="ctr"/>
          <a:lstStyle>
            <a:lvl1pPr marL="87311" indent="0"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5" name="Text Placeholder 4"/>
          <p:cNvSpPr>
            <a:spLocks noGrp="1"/>
          </p:cNvSpPr>
          <p:nvPr>
            <p:ph type="body" sz="quarter" idx="14"/>
          </p:nvPr>
        </p:nvSpPr>
        <p:spPr>
          <a:xfrm>
            <a:off x="2813538" y="3394327"/>
            <a:ext cx="6112151" cy="1449193"/>
          </a:xfrm>
          <a:prstGeom prst="roundRect">
            <a:avLst>
              <a:gd name="adj" fmla="val 0"/>
            </a:avLst>
          </a:prstGeom>
          <a:solidFill>
            <a:schemeClr val="tx1">
              <a:lumMod val="75000"/>
            </a:schemeClr>
          </a:solidFill>
          <a:ln>
            <a:noFill/>
          </a:ln>
          <a:effectLst/>
        </p:spPr>
        <p:txBody>
          <a:bodyPr anchor="ctr"/>
          <a:lstStyle>
            <a:lvl1pPr algn="ctr">
              <a:defRPr sz="24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15"/>
          </p:nvPr>
        </p:nvSpPr>
        <p:spPr>
          <a:xfrm>
            <a:off x="3273339" y="858958"/>
            <a:ext cx="2036258" cy="2415309"/>
          </a:xfrm>
          <a:prstGeom prst="roundRect">
            <a:avLst>
              <a:gd name="adj" fmla="val 0"/>
            </a:avLst>
          </a:prstGeom>
          <a:solidFill>
            <a:schemeClr val="tx1">
              <a:lumMod val="75000"/>
            </a:schemeClr>
          </a:solidFill>
          <a:ln>
            <a:noFill/>
          </a:ln>
          <a:effectLst/>
        </p:spPr>
        <p:txBody>
          <a:bodyPr anchor="ctr"/>
          <a:lstStyle>
            <a:lvl1pPr algn="ctr">
              <a:defRPr>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7" name="Text Placeholder 4"/>
          <p:cNvSpPr>
            <a:spLocks noGrp="1"/>
          </p:cNvSpPr>
          <p:nvPr>
            <p:ph type="body" sz="quarter" idx="16"/>
          </p:nvPr>
        </p:nvSpPr>
        <p:spPr>
          <a:xfrm>
            <a:off x="5426254" y="142522"/>
            <a:ext cx="3499434" cy="1850277"/>
          </a:xfrm>
          <a:prstGeom prst="roundRect">
            <a:avLst>
              <a:gd name="adj" fmla="val 0"/>
            </a:avLst>
          </a:prstGeom>
          <a:solidFill>
            <a:schemeClr val="accent5"/>
          </a:solidFill>
          <a:ln>
            <a:noFill/>
          </a:ln>
          <a:effectLst/>
        </p:spPr>
        <p:txBody>
          <a:bodyPr anchor="ctr"/>
          <a:lstStyle>
            <a:lvl1pPr marL="87311" indent="0" algn="l">
              <a:defRPr sz="2400">
                <a:solidFill>
                  <a:schemeClr val="bg1"/>
                </a:solidFill>
                <a:effectLst/>
                <a:latin typeface="Arial"/>
                <a:cs typeface="Arial"/>
              </a:defRPr>
            </a:lvl1pPr>
            <a:lvl2pPr marL="373054" indent="-285743" algn="l">
              <a:buFont typeface="Arial" panose="020B0604020202020204" pitchFamily="34" charset="0"/>
              <a:buChar char="•"/>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
        <p:nvSpPr>
          <p:cNvPr id="28" name="Text Placeholder 4"/>
          <p:cNvSpPr>
            <a:spLocks noGrp="1"/>
          </p:cNvSpPr>
          <p:nvPr>
            <p:ph type="body" sz="quarter" idx="17"/>
          </p:nvPr>
        </p:nvSpPr>
        <p:spPr>
          <a:xfrm>
            <a:off x="5426255" y="2112859"/>
            <a:ext cx="3523542" cy="1161408"/>
          </a:xfrm>
          <a:prstGeom prst="roundRect">
            <a:avLst>
              <a:gd name="adj" fmla="val 0"/>
            </a:avLst>
          </a:prstGeom>
          <a:solidFill>
            <a:schemeClr val="tx2"/>
          </a:solidFill>
          <a:ln>
            <a:noFill/>
          </a:ln>
          <a:effectLst/>
        </p:spPr>
        <p:txBody>
          <a:bodyPr anchor="ctr"/>
          <a:lstStyle>
            <a:lvl1pPr algn="r">
              <a:defRPr>
                <a:solidFill>
                  <a:schemeClr val="tx1"/>
                </a:solidFill>
                <a:latin typeface="Arial"/>
                <a:cs typeface="Arial"/>
              </a:defRPr>
            </a:lvl1pPr>
            <a:lvl2pPr algn="l">
              <a:defRPr>
                <a:solidFill>
                  <a:srgbClr val="6A6A6A"/>
                </a:solidFill>
              </a:defRPr>
            </a:lvl2pPr>
            <a:lvl3pPr algn="l">
              <a:defRPr>
                <a:solidFill>
                  <a:srgbClr val="6A6A6A"/>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 name="Title 1"/>
          <p:cNvSpPr>
            <a:spLocks noGrp="1"/>
          </p:cNvSpPr>
          <p:nvPr>
            <p:ph type="title"/>
          </p:nvPr>
        </p:nvSpPr>
        <p:spPr>
          <a:xfrm>
            <a:off x="307811" y="142522"/>
            <a:ext cx="5034629" cy="563513"/>
          </a:xfrm>
          <a:prstGeom prst="rect">
            <a:avLst/>
          </a:prstGeom>
        </p:spPr>
        <p:txBody>
          <a:bodyPr/>
          <a:lstStyle>
            <a:lvl1pPr algn="l">
              <a:defRPr sz="2200" b="1">
                <a:solidFill>
                  <a:schemeClr val="tx1"/>
                </a:solidFill>
                <a:latin typeface="Arial"/>
                <a:cs typeface="Arial"/>
              </a:defRPr>
            </a:lvl1pPr>
          </a:lstStyle>
          <a:p>
            <a:r>
              <a:rPr lang="en-US" dirty="0"/>
              <a:t>Click to edit Master title style</a:t>
            </a:r>
            <a:endParaRPr lang="en-ZA" dirty="0"/>
          </a:p>
        </p:txBody>
      </p:sp>
    </p:spTree>
    <p:extLst>
      <p:ext uri="{BB962C8B-B14F-4D97-AF65-F5344CB8AC3E}">
        <p14:creationId xmlns:p14="http://schemas.microsoft.com/office/powerpoint/2010/main" val="27752716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1">
    <p:bg>
      <p:bgPr>
        <a:solidFill>
          <a:srgbClr val="000000"/>
        </a:solidFill>
        <a:effectLst/>
      </p:bgPr>
    </p:bg>
    <p:spTree>
      <p:nvGrpSpPr>
        <p:cNvPr id="1" name=""/>
        <p:cNvGrpSpPr/>
        <p:nvPr/>
      </p:nvGrpSpPr>
      <p:grpSpPr>
        <a:xfrm>
          <a:off x="0" y="0"/>
          <a:ext cx="0" cy="0"/>
          <a:chOff x="0" y="0"/>
          <a:chExt cx="0" cy="0"/>
        </a:xfrm>
      </p:grpSpPr>
      <p:sp>
        <p:nvSpPr>
          <p:cNvPr id="2" name="Rectangle 1"/>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28" name="Picture Placeholder 25"/>
          <p:cNvSpPr>
            <a:spLocks noGrp="1"/>
          </p:cNvSpPr>
          <p:nvPr>
            <p:ph type="pic" sz="quarter" idx="22" hasCustomPrompt="1"/>
          </p:nvPr>
        </p:nvSpPr>
        <p:spPr>
          <a:xfrm>
            <a:off x="2908335" y="3041283"/>
            <a:ext cx="4028516" cy="1653402"/>
          </a:xfrm>
          <a:prstGeom prst="roundRect">
            <a:avLst>
              <a:gd name="adj" fmla="val 0"/>
            </a:avLst>
          </a:prstGeom>
          <a:solidFill>
            <a:schemeClr val="tx2"/>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9"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6" name="Picture Placeholder 25"/>
          <p:cNvSpPr>
            <a:spLocks noGrp="1"/>
          </p:cNvSpPr>
          <p:nvPr>
            <p:ph type="pic" sz="quarter" idx="10" hasCustomPrompt="1"/>
          </p:nvPr>
        </p:nvSpPr>
        <p:spPr>
          <a:xfrm>
            <a:off x="320825"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9" y="1664070"/>
            <a:ext cx="1806573" cy="2010520"/>
          </a:xfrm>
          <a:prstGeom prst="roundRect">
            <a:avLst>
              <a:gd name="adj" fmla="val 0"/>
            </a:avLst>
          </a:prstGeom>
          <a:solidFill>
            <a:schemeClr val="accent4"/>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5" y="298818"/>
            <a:ext cx="3272751" cy="266065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19" name="Text Placeholder 4"/>
          <p:cNvSpPr>
            <a:spLocks noGrp="1"/>
          </p:cNvSpPr>
          <p:nvPr>
            <p:ph type="body" sz="quarter" idx="17"/>
          </p:nvPr>
        </p:nvSpPr>
        <p:spPr>
          <a:xfrm>
            <a:off x="3676536" y="298820"/>
            <a:ext cx="3260314" cy="2660651"/>
          </a:xfrm>
          <a:prstGeom prst="roundRect">
            <a:avLst>
              <a:gd name="adj" fmla="val 0"/>
            </a:avLst>
          </a:prstGeom>
          <a:noFill/>
          <a:ln>
            <a:noFill/>
          </a:ln>
          <a:effectLst/>
        </p:spPr>
        <p:txBody>
          <a:bodyPr anchor="ctr"/>
          <a:lstStyle>
            <a:lvl1pPr algn="l">
              <a:defRPr sz="2400">
                <a:solidFill>
                  <a:schemeClr val="bg1"/>
                </a:solidFill>
                <a:effectLst/>
                <a:latin typeface="Arial"/>
                <a:cs typeface="Arial"/>
              </a:defRPr>
            </a:lvl1pPr>
            <a:lvl2pPr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1" y="298819"/>
            <a:ext cx="1816262" cy="1275722"/>
          </a:xfrm>
          <a:prstGeom prst="roundRect">
            <a:avLst>
              <a:gd name="adj" fmla="val 0"/>
            </a:avLst>
          </a:prstGeom>
          <a:solidFill>
            <a:schemeClr val="bg2"/>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9" y="3756641"/>
            <a:ext cx="1806574" cy="951885"/>
          </a:xfrm>
          <a:prstGeom prst="roundRect">
            <a:avLst>
              <a:gd name="adj" fmla="val 0"/>
            </a:avLst>
          </a:prstGeom>
          <a:solidFill>
            <a:schemeClr val="accent3"/>
          </a:solidFill>
          <a:ln>
            <a:noFill/>
          </a:ln>
          <a:effectLst/>
        </p:spPr>
        <p:txBody>
          <a:bodyPr anchor="ctr"/>
          <a:lstStyle>
            <a:lvl1pPr algn="ctr">
              <a:defRPr sz="1600">
                <a:solidFill>
                  <a:srgbClr val="455565"/>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3"/>
            <a:ext cx="2522984" cy="1669033"/>
          </a:xfrm>
          <a:prstGeom prst="roundRect">
            <a:avLst>
              <a:gd name="adj" fmla="val 0"/>
            </a:avLst>
          </a:prstGeom>
          <a:solidFill>
            <a:schemeClr val="accent2"/>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5" y="3719720"/>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7002301" y="2694673"/>
            <a:ext cx="181626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320825" y="1982647"/>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883884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DD_custom_layout_text_colour_image_mix.0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28" name="Picture Placeholder 25"/>
          <p:cNvSpPr>
            <a:spLocks noGrp="1"/>
          </p:cNvSpPr>
          <p:nvPr>
            <p:ph type="pic" sz="quarter" idx="22" hasCustomPrompt="1"/>
          </p:nvPr>
        </p:nvSpPr>
        <p:spPr>
          <a:xfrm>
            <a:off x="2908335" y="3041283"/>
            <a:ext cx="4028516" cy="1653402"/>
          </a:xfrm>
          <a:prstGeom prst="roundRect">
            <a:avLst>
              <a:gd name="adj" fmla="val 0"/>
            </a:avLst>
          </a:prstGeom>
          <a:solidFill>
            <a:schemeClr val="tx2"/>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9"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6" name="Picture Placeholder 25"/>
          <p:cNvSpPr>
            <a:spLocks noGrp="1"/>
          </p:cNvSpPr>
          <p:nvPr>
            <p:ph type="pic" sz="quarter" idx="10" hasCustomPrompt="1"/>
          </p:nvPr>
        </p:nvSpPr>
        <p:spPr>
          <a:xfrm>
            <a:off x="320825"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9" y="1664070"/>
            <a:ext cx="1806573" cy="2010520"/>
          </a:xfrm>
          <a:prstGeom prst="roundRect">
            <a:avLst>
              <a:gd name="adj" fmla="val 0"/>
            </a:avLst>
          </a:prstGeom>
          <a:solidFill>
            <a:schemeClr val="accent4"/>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5" y="298818"/>
            <a:ext cx="3272751" cy="266065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19" name="Text Placeholder 4"/>
          <p:cNvSpPr>
            <a:spLocks noGrp="1"/>
          </p:cNvSpPr>
          <p:nvPr>
            <p:ph type="body" sz="quarter" idx="17"/>
          </p:nvPr>
        </p:nvSpPr>
        <p:spPr>
          <a:xfrm>
            <a:off x="3676536" y="298820"/>
            <a:ext cx="3260314" cy="2660651"/>
          </a:xfrm>
          <a:prstGeom prst="roundRect">
            <a:avLst>
              <a:gd name="adj" fmla="val 0"/>
            </a:avLst>
          </a:prstGeom>
          <a:noFill/>
          <a:ln>
            <a:noFill/>
          </a:ln>
          <a:effectLst/>
        </p:spPr>
        <p:txBody>
          <a:bodyPr anchor="ctr"/>
          <a:lstStyle>
            <a:lvl1pPr algn="l">
              <a:defRPr sz="2400">
                <a:solidFill>
                  <a:schemeClr val="bg1"/>
                </a:solidFill>
                <a:effectLst/>
                <a:latin typeface="Arial"/>
                <a:cs typeface="Arial"/>
              </a:defRPr>
            </a:lvl1pPr>
            <a:lvl2pPr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1" y="298819"/>
            <a:ext cx="1816262" cy="1275722"/>
          </a:xfrm>
          <a:prstGeom prst="roundRect">
            <a:avLst>
              <a:gd name="adj" fmla="val 0"/>
            </a:avLst>
          </a:prstGeom>
          <a:solidFill>
            <a:schemeClr val="bg2"/>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9" y="3756641"/>
            <a:ext cx="1806574" cy="951885"/>
          </a:xfrm>
          <a:prstGeom prst="roundRect">
            <a:avLst>
              <a:gd name="adj" fmla="val 0"/>
            </a:avLst>
          </a:prstGeom>
          <a:solidFill>
            <a:schemeClr val="accent3"/>
          </a:solidFill>
          <a:ln>
            <a:noFill/>
          </a:ln>
          <a:effectLst/>
        </p:spPr>
        <p:txBody>
          <a:bodyPr anchor="ctr"/>
          <a:lstStyle>
            <a:lvl1pPr algn="ctr">
              <a:defRPr sz="1600">
                <a:solidFill>
                  <a:srgbClr val="455565"/>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3"/>
            <a:ext cx="2522984" cy="1669033"/>
          </a:xfrm>
          <a:prstGeom prst="roundRect">
            <a:avLst>
              <a:gd name="adj" fmla="val 0"/>
            </a:avLst>
          </a:prstGeom>
          <a:solidFill>
            <a:schemeClr val="accent2"/>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5" y="3719720"/>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6" name="Text Placeholder 4"/>
          <p:cNvSpPr>
            <a:spLocks noGrp="1"/>
          </p:cNvSpPr>
          <p:nvPr>
            <p:ph type="body" sz="quarter" idx="21"/>
          </p:nvPr>
        </p:nvSpPr>
        <p:spPr>
          <a:xfrm>
            <a:off x="7002301" y="2694673"/>
            <a:ext cx="181626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9" name="Text Placeholder 4"/>
          <p:cNvSpPr>
            <a:spLocks noGrp="1"/>
          </p:cNvSpPr>
          <p:nvPr>
            <p:ph type="body" sz="quarter" idx="23"/>
          </p:nvPr>
        </p:nvSpPr>
        <p:spPr>
          <a:xfrm>
            <a:off x="320825" y="1982647"/>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0488624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D_custom_layout_text_colour_image_mix.02">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3676536" y="298818"/>
            <a:ext cx="3260314" cy="266065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dirty="0"/>
          </a:p>
        </p:txBody>
      </p:sp>
      <p:sp>
        <p:nvSpPr>
          <p:cNvPr id="27" name="Rounded Rectangle 26"/>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55565"/>
              </a:solidFill>
              <a:latin typeface="Arial"/>
            </a:endParaRPr>
          </a:p>
        </p:txBody>
      </p:sp>
      <p:sp>
        <p:nvSpPr>
          <p:cNvPr id="28" name="Picture Placeholder 25"/>
          <p:cNvSpPr>
            <a:spLocks noGrp="1"/>
          </p:cNvSpPr>
          <p:nvPr>
            <p:ph type="pic" sz="quarter" idx="22" hasCustomPrompt="1"/>
          </p:nvPr>
        </p:nvSpPr>
        <p:spPr>
          <a:xfrm>
            <a:off x="2908335" y="3041283"/>
            <a:ext cx="4028516" cy="1653402"/>
          </a:xfrm>
          <a:prstGeom prst="roundRect">
            <a:avLst>
              <a:gd name="adj" fmla="val 0"/>
            </a:avLst>
          </a:prstGeom>
          <a:solidFill>
            <a:schemeClr val="accent5"/>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3" name="Rounded Rectangle 12"/>
          <p:cNvSpPr/>
          <p:nvPr userDrawn="1"/>
        </p:nvSpPr>
        <p:spPr>
          <a:xfrm>
            <a:off x="7011989"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55565"/>
              </a:solidFill>
              <a:latin typeface="Arial"/>
            </a:endParaRPr>
          </a:p>
        </p:txBody>
      </p:sp>
      <p:sp>
        <p:nvSpPr>
          <p:cNvPr id="6" name="Picture Placeholder 25"/>
          <p:cNvSpPr>
            <a:spLocks noGrp="1"/>
          </p:cNvSpPr>
          <p:nvPr>
            <p:ph type="pic" sz="quarter" idx="10" hasCustomPrompt="1"/>
          </p:nvPr>
        </p:nvSpPr>
        <p:spPr>
          <a:xfrm>
            <a:off x="320825"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rgbClr val="455565"/>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9" y="1664070"/>
            <a:ext cx="1806573" cy="2010520"/>
          </a:xfrm>
          <a:prstGeom prst="roundRect">
            <a:avLst>
              <a:gd name="adj" fmla="val 0"/>
            </a:avLst>
          </a:prstGeom>
          <a:solidFill>
            <a:schemeClr val="tx2"/>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5" name="Rounded Rectangle 4"/>
          <p:cNvSpPr/>
          <p:nvPr userDrawn="1"/>
        </p:nvSpPr>
        <p:spPr>
          <a:xfrm>
            <a:off x="320825" y="298818"/>
            <a:ext cx="3272751" cy="2660652"/>
          </a:xfrm>
          <a:prstGeom prst="roundRect">
            <a:avLst>
              <a:gd name="adj" fmla="val 0"/>
            </a:avLst>
          </a:prstGeom>
          <a:solidFill>
            <a:schemeClr val="bg2"/>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55565"/>
              </a:solidFill>
              <a:latin typeface="Arial"/>
            </a:endParaRPr>
          </a:p>
        </p:txBody>
      </p:sp>
      <p:sp>
        <p:nvSpPr>
          <p:cNvPr id="19" name="Text Placeholder 4"/>
          <p:cNvSpPr>
            <a:spLocks noGrp="1"/>
          </p:cNvSpPr>
          <p:nvPr>
            <p:ph type="body" sz="quarter" idx="17"/>
          </p:nvPr>
        </p:nvSpPr>
        <p:spPr>
          <a:xfrm>
            <a:off x="3676536" y="298820"/>
            <a:ext cx="3260314" cy="2660651"/>
          </a:xfrm>
          <a:prstGeom prst="roundRect">
            <a:avLst>
              <a:gd name="adj" fmla="val 0"/>
            </a:avLst>
          </a:prstGeom>
          <a:noFill/>
          <a:ln>
            <a:noFill/>
          </a:ln>
          <a:effectLst/>
        </p:spPr>
        <p:txBody>
          <a:bodyPr anchor="ctr"/>
          <a:lstStyle>
            <a:lvl1pPr marL="179384" indent="0" algn="l">
              <a:tabLst>
                <a:tab pos="87311" algn="l"/>
              </a:tabLst>
              <a:defRPr sz="2400">
                <a:solidFill>
                  <a:schemeClr val="bg1"/>
                </a:solidFill>
                <a:effectLst/>
                <a:latin typeface="Arial"/>
                <a:cs typeface="Arial"/>
              </a:defRPr>
            </a:lvl1pPr>
            <a:lvl2pPr marL="358766" indent="-179384" algn="l">
              <a:defRPr>
                <a:solidFill>
                  <a:schemeClr val="bg1"/>
                </a:solidFill>
                <a:effectLst/>
                <a:latin typeface="Arial"/>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
        <p:nvSpPr>
          <p:cNvPr id="21" name="Text Placeholder 4"/>
          <p:cNvSpPr>
            <a:spLocks noGrp="1"/>
          </p:cNvSpPr>
          <p:nvPr>
            <p:ph type="body" sz="quarter" idx="14"/>
          </p:nvPr>
        </p:nvSpPr>
        <p:spPr>
          <a:xfrm>
            <a:off x="7002301" y="298819"/>
            <a:ext cx="1816262" cy="1275722"/>
          </a:xfrm>
          <a:prstGeom prst="roundRect">
            <a:avLst>
              <a:gd name="adj" fmla="val 0"/>
            </a:avLst>
          </a:prstGeom>
          <a:solidFill>
            <a:schemeClr val="tx1"/>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2" name="Text Placeholder 4"/>
          <p:cNvSpPr>
            <a:spLocks noGrp="1"/>
          </p:cNvSpPr>
          <p:nvPr>
            <p:ph type="body" sz="quarter" idx="19"/>
          </p:nvPr>
        </p:nvSpPr>
        <p:spPr>
          <a:xfrm>
            <a:off x="7011989" y="3756641"/>
            <a:ext cx="1806574" cy="951885"/>
          </a:xfrm>
          <a:prstGeom prst="roundRect">
            <a:avLst>
              <a:gd name="adj" fmla="val 0"/>
            </a:avLst>
          </a:prstGeom>
          <a:solidFill>
            <a:schemeClr val="tx1"/>
          </a:solid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4" name="Text Placeholder 4"/>
          <p:cNvSpPr>
            <a:spLocks noGrp="1"/>
          </p:cNvSpPr>
          <p:nvPr>
            <p:ph type="body" sz="quarter" idx="13"/>
          </p:nvPr>
        </p:nvSpPr>
        <p:spPr>
          <a:xfrm>
            <a:off x="320824" y="3039493"/>
            <a:ext cx="2522984" cy="1669033"/>
          </a:xfrm>
          <a:prstGeom prst="roundRect">
            <a:avLst>
              <a:gd name="adj" fmla="val 0"/>
            </a:avLst>
          </a:prstGeom>
          <a:solidFill>
            <a:schemeClr val="accent3"/>
          </a:solidFill>
          <a:ln>
            <a:noFill/>
          </a:ln>
          <a:effectLst/>
        </p:spPr>
        <p:txBody>
          <a:bodyPr anchor="ctr"/>
          <a:lstStyle>
            <a:lvl1pPr algn="l">
              <a:defRPr sz="2000" b="1">
                <a:solidFill>
                  <a:schemeClr val="bg1"/>
                </a:solidFill>
                <a:latin typeface="Arial"/>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25" name="Text Placeholder 4"/>
          <p:cNvSpPr>
            <a:spLocks noGrp="1"/>
          </p:cNvSpPr>
          <p:nvPr>
            <p:ph type="body" sz="quarter" idx="20"/>
          </p:nvPr>
        </p:nvSpPr>
        <p:spPr>
          <a:xfrm>
            <a:off x="2908335" y="3719720"/>
            <a:ext cx="4028516"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6" name="Text Placeholder 4"/>
          <p:cNvSpPr>
            <a:spLocks noGrp="1"/>
          </p:cNvSpPr>
          <p:nvPr>
            <p:ph type="body" sz="quarter" idx="21"/>
          </p:nvPr>
        </p:nvSpPr>
        <p:spPr>
          <a:xfrm>
            <a:off x="7002301" y="2694673"/>
            <a:ext cx="1816261" cy="982945"/>
          </a:xfrm>
          <a:prstGeom prst="roundRect">
            <a:avLst>
              <a:gd name="adj" fmla="val 0"/>
            </a:avLst>
          </a:prstGeom>
          <a:noFill/>
          <a:ln>
            <a:noFill/>
          </a:ln>
          <a:effectLst/>
        </p:spPr>
        <p:txBody>
          <a:bodyPr anchor="ctr"/>
          <a:lstStyle>
            <a:lvl1pPr algn="ctr">
              <a:defRPr sz="1600">
                <a:solidFill>
                  <a:schemeClr val="tx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
        <p:nvSpPr>
          <p:cNvPr id="29" name="Text Placeholder 4"/>
          <p:cNvSpPr>
            <a:spLocks noGrp="1"/>
          </p:cNvSpPr>
          <p:nvPr>
            <p:ph type="body" sz="quarter" idx="23"/>
          </p:nvPr>
        </p:nvSpPr>
        <p:spPr>
          <a:xfrm>
            <a:off x="320825" y="1982647"/>
            <a:ext cx="3272751" cy="982945"/>
          </a:xfrm>
          <a:prstGeom prst="roundRect">
            <a:avLst>
              <a:gd name="adj" fmla="val 0"/>
            </a:avLst>
          </a:prstGeom>
          <a:noFill/>
          <a:ln>
            <a:noFill/>
          </a:ln>
          <a:effectLst/>
        </p:spPr>
        <p:txBody>
          <a:bodyPr anchor="ctr"/>
          <a:lstStyle>
            <a:lvl1pPr algn="ctr">
              <a:defRPr sz="1600">
                <a:solidFill>
                  <a:schemeClr val="bg1"/>
                </a:solidFill>
                <a:latin typeface="Arial"/>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0122452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D_custom_layout_images_grey_background">
    <p:bg>
      <p:bgPr>
        <a:solidFill>
          <a:srgbClr val="000000"/>
        </a:solidFill>
        <a:effectLst/>
      </p:bgPr>
    </p:bg>
    <p:spTree>
      <p:nvGrpSpPr>
        <p:cNvPr id="1" name=""/>
        <p:cNvGrpSpPr/>
        <p:nvPr/>
      </p:nvGrpSpPr>
      <p:grpSpPr>
        <a:xfrm>
          <a:off x="0" y="0"/>
          <a:ext cx="0" cy="0"/>
          <a:chOff x="0" y="0"/>
          <a:chExt cx="0" cy="0"/>
        </a:xfrm>
      </p:grpSpPr>
      <p:sp>
        <p:nvSpPr>
          <p:cNvPr id="15" name="Rounded Rectangle 14"/>
          <p:cNvSpPr/>
          <p:nvPr userDrawn="1"/>
        </p:nvSpPr>
        <p:spPr>
          <a:xfrm>
            <a:off x="7011989" y="3752259"/>
            <a:ext cx="1806574" cy="942427"/>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10" name="Picture Placeholder 25"/>
          <p:cNvSpPr>
            <a:spLocks noGrp="1"/>
          </p:cNvSpPr>
          <p:nvPr>
            <p:ph type="pic" sz="quarter" idx="13" hasCustomPrompt="1"/>
          </p:nvPr>
        </p:nvSpPr>
        <p:spPr>
          <a:xfrm>
            <a:off x="320825" y="3041283"/>
            <a:ext cx="2516104"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1" name="Rounded Rectangle 10"/>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13" name="Rounded Rectangle 12"/>
          <p:cNvSpPr/>
          <p:nvPr userDrawn="1"/>
        </p:nvSpPr>
        <p:spPr>
          <a:xfrm>
            <a:off x="7011989"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6" name="Picture Placeholder 25"/>
          <p:cNvSpPr>
            <a:spLocks noGrp="1"/>
          </p:cNvSpPr>
          <p:nvPr>
            <p:ph type="pic" sz="quarter" idx="10" hasCustomPrompt="1"/>
          </p:nvPr>
        </p:nvSpPr>
        <p:spPr>
          <a:xfrm>
            <a:off x="320825"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4" name="Picture Placeholder 25"/>
          <p:cNvSpPr>
            <a:spLocks noGrp="1"/>
          </p:cNvSpPr>
          <p:nvPr>
            <p:ph type="pic" sz="quarter" idx="11" hasCustomPrompt="1"/>
          </p:nvPr>
        </p:nvSpPr>
        <p:spPr>
          <a:xfrm>
            <a:off x="3668990" y="298818"/>
            <a:ext cx="326786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7" name="Rounded Rectangle 6"/>
          <p:cNvSpPr/>
          <p:nvPr userDrawn="1"/>
        </p:nvSpPr>
        <p:spPr>
          <a:xfrm>
            <a:off x="7011989" y="298819"/>
            <a:ext cx="1806574" cy="1308101"/>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16" name="Picture Placeholder 25"/>
          <p:cNvSpPr>
            <a:spLocks noGrp="1"/>
          </p:cNvSpPr>
          <p:nvPr>
            <p:ph type="pic" sz="quarter" idx="16" hasCustomPrompt="1"/>
          </p:nvPr>
        </p:nvSpPr>
        <p:spPr>
          <a:xfrm>
            <a:off x="7011989" y="3752259"/>
            <a:ext cx="1806573" cy="942427"/>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2" name="Picture Placeholder 25"/>
          <p:cNvSpPr>
            <a:spLocks noGrp="1"/>
          </p:cNvSpPr>
          <p:nvPr>
            <p:ph type="pic" sz="quarter" idx="14" hasCustomPrompt="1"/>
          </p:nvPr>
        </p:nvSpPr>
        <p:spPr>
          <a:xfrm>
            <a:off x="2908335" y="3041283"/>
            <a:ext cx="4028516"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9" y="1664070"/>
            <a:ext cx="1806573" cy="2010520"/>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
        <p:nvSpPr>
          <p:cNvPr id="3" name="Rounded Rectangle 2"/>
          <p:cNvSpPr/>
          <p:nvPr userDrawn="1"/>
        </p:nvSpPr>
        <p:spPr>
          <a:xfrm>
            <a:off x="3668713" y="298818"/>
            <a:ext cx="3268136" cy="266065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5" name="Rounded Rectangle 4"/>
          <p:cNvSpPr/>
          <p:nvPr userDrawn="1"/>
        </p:nvSpPr>
        <p:spPr>
          <a:xfrm>
            <a:off x="320825" y="298818"/>
            <a:ext cx="3272751" cy="266065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9" name="Rounded Rectangle 8"/>
          <p:cNvSpPr/>
          <p:nvPr userDrawn="1"/>
        </p:nvSpPr>
        <p:spPr>
          <a:xfrm>
            <a:off x="334964" y="3041283"/>
            <a:ext cx="2501965"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a:endParaRPr>
          </a:p>
        </p:txBody>
      </p:sp>
      <p:sp>
        <p:nvSpPr>
          <p:cNvPr id="8" name="Picture Placeholder 25"/>
          <p:cNvSpPr>
            <a:spLocks noGrp="1"/>
          </p:cNvSpPr>
          <p:nvPr>
            <p:ph type="pic" sz="quarter" idx="12" hasCustomPrompt="1"/>
          </p:nvPr>
        </p:nvSpPr>
        <p:spPr>
          <a:xfrm>
            <a:off x="7011989" y="298819"/>
            <a:ext cx="1806573" cy="1308101"/>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Arial"/>
                <a:ea typeface="+mn-ea"/>
                <a:cs typeface="+mn-cs"/>
              </a:defRPr>
            </a:lvl1pPr>
          </a:lstStyle>
          <a:p>
            <a:r>
              <a:rPr lang="en-US" dirty="0"/>
              <a:t>Insert photo here</a:t>
            </a:r>
          </a:p>
        </p:txBody>
      </p:sp>
    </p:spTree>
    <p:extLst>
      <p:ext uri="{BB962C8B-B14F-4D97-AF65-F5344CB8AC3E}">
        <p14:creationId xmlns:p14="http://schemas.microsoft.com/office/powerpoint/2010/main" val="2431699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D_custom_layout_images_white_background">
    <p:spTree>
      <p:nvGrpSpPr>
        <p:cNvPr id="1" name=""/>
        <p:cNvGrpSpPr/>
        <p:nvPr/>
      </p:nvGrpSpPr>
      <p:grpSpPr>
        <a:xfrm>
          <a:off x="0" y="0"/>
          <a:ext cx="0" cy="0"/>
          <a:chOff x="0" y="0"/>
          <a:chExt cx="0" cy="0"/>
        </a:xfrm>
      </p:grpSpPr>
      <p:sp>
        <p:nvSpPr>
          <p:cNvPr id="3" name="Rounded Rectangle 2"/>
          <p:cNvSpPr/>
          <p:nvPr userDrawn="1"/>
        </p:nvSpPr>
        <p:spPr>
          <a:xfrm>
            <a:off x="3668713" y="298818"/>
            <a:ext cx="3268136" cy="266065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5" name="Rounded Rectangle 4"/>
          <p:cNvSpPr/>
          <p:nvPr userDrawn="1"/>
        </p:nvSpPr>
        <p:spPr>
          <a:xfrm>
            <a:off x="320825" y="298818"/>
            <a:ext cx="3272751" cy="266065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9" name="Rounded Rectangle 8"/>
          <p:cNvSpPr/>
          <p:nvPr userDrawn="1"/>
        </p:nvSpPr>
        <p:spPr>
          <a:xfrm>
            <a:off x="334964" y="3041283"/>
            <a:ext cx="2501965" cy="1653402"/>
          </a:xfrm>
          <a:prstGeom prst="roundRect">
            <a:avLst>
              <a:gd name="adj" fmla="val 0"/>
            </a:avLst>
          </a:prstGeom>
          <a:solidFill>
            <a:schemeClr val="bg1">
              <a:alpha val="30000"/>
            </a:schemeClr>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15" name="Rounded Rectangle 14"/>
          <p:cNvSpPr/>
          <p:nvPr userDrawn="1"/>
        </p:nvSpPr>
        <p:spPr>
          <a:xfrm>
            <a:off x="7011989" y="3752259"/>
            <a:ext cx="1806574" cy="942427"/>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10" name="Picture Placeholder 25"/>
          <p:cNvSpPr>
            <a:spLocks noGrp="1"/>
          </p:cNvSpPr>
          <p:nvPr>
            <p:ph type="pic" sz="quarter" idx="13" hasCustomPrompt="1"/>
          </p:nvPr>
        </p:nvSpPr>
        <p:spPr>
          <a:xfrm>
            <a:off x="320825" y="3041283"/>
            <a:ext cx="2516104" cy="165340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1" name="Rounded Rectangle 10"/>
          <p:cNvSpPr/>
          <p:nvPr userDrawn="1"/>
        </p:nvSpPr>
        <p:spPr>
          <a:xfrm>
            <a:off x="2911476" y="3041283"/>
            <a:ext cx="4025374" cy="1653402"/>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13" name="Rounded Rectangle 12"/>
          <p:cNvSpPr/>
          <p:nvPr userDrawn="1"/>
        </p:nvSpPr>
        <p:spPr>
          <a:xfrm>
            <a:off x="7011989" y="1671327"/>
            <a:ext cx="1806574" cy="2006290"/>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6" name="Picture Placeholder 25"/>
          <p:cNvSpPr>
            <a:spLocks noGrp="1"/>
          </p:cNvSpPr>
          <p:nvPr>
            <p:ph type="pic" sz="quarter" idx="10" hasCustomPrompt="1"/>
          </p:nvPr>
        </p:nvSpPr>
        <p:spPr>
          <a:xfrm>
            <a:off x="320825" y="298818"/>
            <a:ext cx="327275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4" name="Picture Placeholder 25"/>
          <p:cNvSpPr>
            <a:spLocks noGrp="1"/>
          </p:cNvSpPr>
          <p:nvPr>
            <p:ph type="pic" sz="quarter" idx="11" hasCustomPrompt="1"/>
          </p:nvPr>
        </p:nvSpPr>
        <p:spPr>
          <a:xfrm>
            <a:off x="3668990" y="298818"/>
            <a:ext cx="3267861" cy="2660652"/>
          </a:xfrm>
          <a:prstGeom prst="roundRect">
            <a:avLst>
              <a:gd name="adj" fmla="val 0"/>
            </a:avLst>
          </a:prstGeom>
          <a:solidFill>
            <a:schemeClr val="bg1">
              <a:alpha val="30000"/>
            </a:schemeClr>
          </a:solidFill>
          <a:ln>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7" name="Rounded Rectangle 6"/>
          <p:cNvSpPr/>
          <p:nvPr userDrawn="1"/>
        </p:nvSpPr>
        <p:spPr>
          <a:xfrm>
            <a:off x="7011989" y="298819"/>
            <a:ext cx="1806574" cy="1308101"/>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Arial"/>
            </a:endParaRPr>
          </a:p>
        </p:txBody>
      </p:sp>
      <p:sp>
        <p:nvSpPr>
          <p:cNvPr id="16" name="Picture Placeholder 25"/>
          <p:cNvSpPr>
            <a:spLocks noGrp="1"/>
          </p:cNvSpPr>
          <p:nvPr>
            <p:ph type="pic" sz="quarter" idx="16" hasCustomPrompt="1"/>
          </p:nvPr>
        </p:nvSpPr>
        <p:spPr>
          <a:xfrm>
            <a:off x="7011989" y="3752259"/>
            <a:ext cx="1806573" cy="942427"/>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2" name="Picture Placeholder 25"/>
          <p:cNvSpPr>
            <a:spLocks noGrp="1"/>
          </p:cNvSpPr>
          <p:nvPr>
            <p:ph type="pic" sz="quarter" idx="14" hasCustomPrompt="1"/>
          </p:nvPr>
        </p:nvSpPr>
        <p:spPr>
          <a:xfrm>
            <a:off x="2908335" y="3041283"/>
            <a:ext cx="4028516" cy="1653402"/>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14" name="Picture Placeholder 25"/>
          <p:cNvSpPr>
            <a:spLocks noGrp="1"/>
          </p:cNvSpPr>
          <p:nvPr>
            <p:ph type="pic" sz="quarter" idx="15" hasCustomPrompt="1"/>
          </p:nvPr>
        </p:nvSpPr>
        <p:spPr>
          <a:xfrm>
            <a:off x="7011989" y="1664070"/>
            <a:ext cx="1806573" cy="2010520"/>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
        <p:nvSpPr>
          <p:cNvPr id="8" name="Picture Placeholder 25"/>
          <p:cNvSpPr>
            <a:spLocks noGrp="1"/>
          </p:cNvSpPr>
          <p:nvPr>
            <p:ph type="pic" sz="quarter" idx="12" hasCustomPrompt="1"/>
          </p:nvPr>
        </p:nvSpPr>
        <p:spPr>
          <a:xfrm>
            <a:off x="7011989" y="298819"/>
            <a:ext cx="1806573" cy="1308101"/>
          </a:xfrm>
          <a:prstGeom prst="roundRect">
            <a:avLst>
              <a:gd name="adj" fmla="val 0"/>
            </a:avLst>
          </a:prstGeom>
          <a:solidFill>
            <a:schemeClr val="bg1">
              <a:alpha val="30000"/>
            </a:schemeClr>
          </a:solidFill>
          <a:ln w="3175" cmpd="sng">
            <a:noFill/>
          </a:ln>
          <a:effectLst/>
        </p:spPr>
        <p:txBody>
          <a:bodyPr vert="horz" lIns="91440" tIns="45720" rIns="91440" bIns="45720" rtlCol="0" anchor="ctr" anchorCtr="0">
            <a:normAutofit/>
          </a:bodyPr>
          <a:lstStyle>
            <a:lvl1pPr marL="0" indent="0" algn="ctr" defTabSz="914378"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Arial"/>
                <a:ea typeface="+mn-ea"/>
                <a:cs typeface="+mn-cs"/>
              </a:defRPr>
            </a:lvl1pPr>
          </a:lstStyle>
          <a:p>
            <a:r>
              <a:rPr lang="en-US" dirty="0"/>
              <a:t>Insert photo here</a:t>
            </a:r>
          </a:p>
        </p:txBody>
      </p:sp>
    </p:spTree>
    <p:extLst>
      <p:ext uri="{BB962C8B-B14F-4D97-AF65-F5344CB8AC3E}">
        <p14:creationId xmlns:p14="http://schemas.microsoft.com/office/powerpoint/2010/main" val="1418036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D_title_and_content_page.01">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520" y="968820"/>
            <a:ext cx="8532155" cy="3154945"/>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itle 1"/>
          <p:cNvSpPr>
            <a:spLocks noGrp="1"/>
          </p:cNvSpPr>
          <p:nvPr>
            <p:ph type="title"/>
          </p:nvPr>
        </p:nvSpPr>
        <p:spPr>
          <a:xfrm>
            <a:off x="297519" y="127000"/>
            <a:ext cx="8532155" cy="595314"/>
          </a:xfrm>
          <a:prstGeom prst="rect">
            <a:avLst/>
          </a:prstGeom>
        </p:spPr>
        <p:txBody>
          <a:bodyPr anchor="ctr"/>
          <a:lstStyle>
            <a:lvl1pPr>
              <a:defRPr b="1">
                <a:solidFill>
                  <a:schemeClr val="tx1"/>
                </a:solidFill>
                <a:latin typeface="Arial"/>
                <a:cs typeface="Arial"/>
              </a:defRPr>
            </a:lvl1pPr>
          </a:lstStyle>
          <a:p>
            <a:r>
              <a:rPr lang="en-US"/>
              <a:t>Click to edit Master title style</a:t>
            </a:r>
            <a:endParaRPr lang="en-ZA"/>
          </a:p>
        </p:txBody>
      </p:sp>
      <p:pic>
        <p:nvPicPr>
          <p:cNvPr id="5" name="Picture 4" descr="A picture containing food&#10;&#10;Description automatically generated">
            <a:extLst>
              <a:ext uri="{FF2B5EF4-FFF2-40B4-BE49-F238E27FC236}">
                <a16:creationId xmlns:a16="http://schemas.microsoft.com/office/drawing/2014/main" id="{6CCB722F-7CE3-F64E-847E-7F3A4248B6F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4457700"/>
            <a:ext cx="2235200" cy="685800"/>
          </a:xfrm>
          <a:prstGeom prst="rect">
            <a:avLst/>
          </a:prstGeom>
        </p:spPr>
      </p:pic>
    </p:spTree>
    <p:extLst>
      <p:ext uri="{BB962C8B-B14F-4D97-AF65-F5344CB8AC3E}">
        <p14:creationId xmlns:p14="http://schemas.microsoft.com/office/powerpoint/2010/main" val="9582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2.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tags" Target="../tags/tag25.xml"/><Relationship Id="rId21" Type="http://schemas.openxmlformats.org/officeDocument/2006/relationships/tags" Target="../tags/tag7.xml"/><Relationship Id="rId34" Type="http://schemas.openxmlformats.org/officeDocument/2006/relationships/tags" Target="../tags/tag20.xml"/><Relationship Id="rId42" Type="http://schemas.openxmlformats.org/officeDocument/2006/relationships/tags" Target="../tags/tag28.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vmlDrawing" Target="../drawings/vmlDrawing3.vml"/><Relationship Id="rId29" Type="http://schemas.openxmlformats.org/officeDocument/2006/relationships/tags" Target="../tags/tag1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tags" Target="../tags/tag26.xml"/><Relationship Id="rId45" Type="http://schemas.openxmlformats.org/officeDocument/2006/relationships/oleObject" Target="../embeddings/oleObject3.bin"/><Relationship Id="rId5" Type="http://schemas.openxmlformats.org/officeDocument/2006/relationships/slideLayout" Target="../slideLayouts/slideLayout48.xml"/><Relationship Id="rId15" Type="http://schemas.openxmlformats.org/officeDocument/2006/relationships/theme" Target="../theme/theme3.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53.xml"/><Relationship Id="rId19" Type="http://schemas.openxmlformats.org/officeDocument/2006/relationships/tags" Target="../tags/tag5.xml"/><Relationship Id="rId31" Type="http://schemas.openxmlformats.org/officeDocument/2006/relationships/tags" Target="../tags/tag17.xml"/><Relationship Id="rId44" Type="http://schemas.openxmlformats.org/officeDocument/2006/relationships/tags" Target="../tags/tag30.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43" Type="http://schemas.openxmlformats.org/officeDocument/2006/relationships/tags" Target="../tags/tag29.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46" Type="http://schemas.openxmlformats.org/officeDocument/2006/relationships/image" Target="../media/image19.emf"/><Relationship Id="rId20" Type="http://schemas.openxmlformats.org/officeDocument/2006/relationships/tags" Target="../tags/tag6.xml"/><Relationship Id="rId41" Type="http://schemas.openxmlformats.org/officeDocument/2006/relationships/tags" Target="../tags/tag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theme" Target="../theme/theme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698949"/>
      </p:ext>
    </p:extLst>
  </p:cSld>
  <p:clrMap bg1="lt1" tx1="dk1" bg2="lt2" tx2="dk2" accent1="accent1" accent2="accent2" accent3="accent3" accent4="accent4" accent5="accent5" accent6="accent6" hlink="hlink" folHlink="folHlink"/>
  <p:sldLayoutIdLst>
    <p:sldLayoutId id="2147484021" r:id="rId1"/>
    <p:sldLayoutId id="2147483985" r:id="rId2"/>
    <p:sldLayoutId id="2147484026" r:id="rId3"/>
    <p:sldLayoutId id="2147484014" r:id="rId4"/>
    <p:sldLayoutId id="2147484038" r:id="rId5"/>
    <p:sldLayoutId id="2147484039" r:id="rId6"/>
    <p:sldLayoutId id="2147484040" r:id="rId7"/>
    <p:sldLayoutId id="2147484041" r:id="rId8"/>
    <p:sldLayoutId id="2147484022" r:id="rId9"/>
    <p:sldLayoutId id="2147484042" r:id="rId10"/>
    <p:sldLayoutId id="2147484023" r:id="rId11"/>
    <p:sldLayoutId id="2147484035" r:id="rId12"/>
    <p:sldLayoutId id="2147483988" r:id="rId13"/>
    <p:sldLayoutId id="2147483989" r:id="rId14"/>
    <p:sldLayoutId id="2147483993" r:id="rId15"/>
    <p:sldLayoutId id="2147484034" r:id="rId16"/>
    <p:sldLayoutId id="2147483994" r:id="rId17"/>
    <p:sldLayoutId id="2147483996" r:id="rId18"/>
    <p:sldLayoutId id="2147484027" r:id="rId19"/>
    <p:sldLayoutId id="2147484037" r:id="rId20"/>
    <p:sldLayoutId id="2147484036" r:id="rId21"/>
    <p:sldLayoutId id="2147484028" r:id="rId22"/>
    <p:sldLayoutId id="2147484043" r:id="rId23"/>
    <p:sldLayoutId id="2147484033" r:id="rId24"/>
    <p:sldLayoutId id="2147484002" r:id="rId25"/>
    <p:sldLayoutId id="2147484032" r:id="rId26"/>
    <p:sldLayoutId id="2147484047" r:id="rId27"/>
    <p:sldLayoutId id="2147484133" r:id="rId28"/>
    <p:sldLayoutId id="2147484134" r:id="rId29"/>
  </p:sldLayoutIdLst>
  <p:txStyles>
    <p:titleStyle>
      <a:lvl1pPr algn="l" defTabSz="914400" rtl="0" eaLnBrk="1" latinLnBrk="0" hangingPunct="1">
        <a:lnSpc>
          <a:spcPct val="120000"/>
        </a:lnSpc>
        <a:spcBef>
          <a:spcPts val="200"/>
        </a:spcBef>
        <a:spcAft>
          <a:spcPts val="200"/>
        </a:spcAft>
        <a:buNone/>
        <a:defRPr sz="2000" kern="1200" baseline="0">
          <a:solidFill>
            <a:schemeClr val="bg1"/>
          </a:solidFill>
          <a:latin typeface="+mj-lt"/>
          <a:ea typeface="+mj-ea"/>
          <a:cs typeface="+mj-cs"/>
        </a:defRPr>
      </a:lvl1pPr>
    </p:titleStyle>
    <p:bodyStyle>
      <a:lvl1pPr marL="0" indent="0" algn="l" defTabSz="914400"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8" indent="-177800" algn="l" defTabSz="914400"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88" indent="-188913" algn="l" defTabSz="914400"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50" indent="-228600" algn="l" defTabSz="914400"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38" indent="-173038" algn="l" defTabSz="914400"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8814247" y="4887000"/>
            <a:ext cx="324000" cy="243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fontAlgn="auto">
              <a:lnSpc>
                <a:spcPct val="110000"/>
              </a:lnSpc>
              <a:spcBef>
                <a:spcPts val="150"/>
              </a:spcBef>
              <a:spcAft>
                <a:spcPts val="150"/>
              </a:spcAft>
            </a:pPr>
            <a:fld id="{D89B7C38-9B72-467A-BB10-F5CE1BCD3204}" type="slidenum">
              <a:rPr lang="en-ZA" sz="750" smtClean="0">
                <a:solidFill>
                  <a:schemeClr val="tx1"/>
                </a:solidFill>
              </a:rPr>
              <a:pPr algn="ctr" fontAlgn="auto">
                <a:lnSpc>
                  <a:spcPct val="110000"/>
                </a:lnSpc>
                <a:spcBef>
                  <a:spcPts val="150"/>
                </a:spcBef>
                <a:spcAft>
                  <a:spcPts val="150"/>
                </a:spcAft>
              </a:pPr>
              <a:t>‹#›</a:t>
            </a:fld>
            <a:endParaRPr lang="en-ZA" sz="750" dirty="0">
              <a:solidFill>
                <a:schemeClr val="tx1"/>
              </a:solidFill>
            </a:endParaRPr>
          </a:p>
        </p:txBody>
      </p:sp>
    </p:spTree>
    <p:extLst>
      <p:ext uri="{BB962C8B-B14F-4D97-AF65-F5344CB8AC3E}">
        <p14:creationId xmlns:p14="http://schemas.microsoft.com/office/powerpoint/2010/main" val="3545775475"/>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61" r:id="rId10"/>
    <p:sldLayoutId id="2147484062" r:id="rId11"/>
    <p:sldLayoutId id="2147484128" r:id="rId12"/>
    <p:sldLayoutId id="2147484132" r:id="rId13"/>
    <p:sldLayoutId id="2147484135" r:id="rId14"/>
  </p:sldLayoutIdLst>
  <p:hf hdr="0" ftr="0" dt="0"/>
  <p:txStyles>
    <p:titleStyle>
      <a:lvl1pPr algn="l" defTabSz="914378" rtl="0" eaLnBrk="1" latinLnBrk="0" hangingPunct="1">
        <a:lnSpc>
          <a:spcPct val="120000"/>
        </a:lnSpc>
        <a:spcBef>
          <a:spcPts val="200"/>
        </a:spcBef>
        <a:spcAft>
          <a:spcPts val="200"/>
        </a:spcAft>
        <a:buNone/>
        <a:defRPr sz="2000" kern="1200" baseline="0">
          <a:solidFill>
            <a:schemeClr val="bg1"/>
          </a:solidFill>
          <a:latin typeface="+mj-lt"/>
          <a:ea typeface="+mj-ea"/>
          <a:cs typeface="+mj-cs"/>
        </a:defRPr>
      </a:lvl1pPr>
    </p:titleStyle>
    <p:bodyStyle>
      <a:lvl1pPr marL="0" indent="0" algn="l" defTabSz="914378"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1" indent="-177796" algn="l" defTabSz="914378"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75" indent="-188909" algn="l" defTabSz="914378"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23" indent="-228594" algn="l" defTabSz="914378"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02" indent="-173034" algn="l" defTabSz="914378"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5" name="think-cell Slide" r:id="rId45" imgW="493" imgH="493" progId="TCLayout.ActiveDocument.1">
                  <p:embed/>
                </p:oleObj>
              </mc:Choice>
              <mc:Fallback>
                <p:oleObj name="think-cell Slide" r:id="rId45" imgW="493" imgH="493" progId="TCLayout.ActiveDocument.1">
                  <p:embed/>
                  <p:pic>
                    <p:nvPicPr>
                      <p:cNvPr id="3" name="Object 2" hidden="1"/>
                      <p:cNvPicPr/>
                      <p:nvPr/>
                    </p:nvPicPr>
                    <p:blipFill>
                      <a:blip r:embed="rId46"/>
                      <a:stretch>
                        <a:fillRect/>
                      </a:stretch>
                    </p:blipFill>
                    <p:spPr>
                      <a:xfrm>
                        <a:off x="1191" y="1191"/>
                        <a:ext cx="1191" cy="1191"/>
                      </a:xfrm>
                      <a:prstGeom prst="rect">
                        <a:avLst/>
                      </a:prstGeom>
                    </p:spPr>
                  </p:pic>
                </p:oleObj>
              </mc:Fallback>
            </mc:AlternateContent>
          </a:graphicData>
        </a:graphic>
      </p:graphicFrame>
      <p:sp>
        <p:nvSpPr>
          <p:cNvPr id="2" name="Workspace [Presentation]" hidden="1"/>
          <p:cNvSpPr/>
          <p:nvPr userDrawn="1"/>
        </p:nvSpPr>
        <p:spPr>
          <a:xfrm>
            <a:off x="9258300" y="36236"/>
            <a:ext cx="2327400" cy="0"/>
          </a:xfrm>
          <a:prstGeom prst="rect">
            <a:avLst/>
          </a:prstGeom>
          <a:noFill/>
          <a:ln w="12700">
            <a:solidFill>
              <a:srgbClr val="D24726"/>
            </a:solidFill>
            <a:prstDash val="lgDash"/>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fontAlgn="auto">
              <a:lnSpc>
                <a:spcPct val="110000"/>
              </a:lnSpc>
              <a:spcBef>
                <a:spcPts val="150"/>
              </a:spcBef>
              <a:spcAft>
                <a:spcPts val="150"/>
              </a:spcAft>
            </a:pPr>
            <a:endParaRPr lang="en-ZA" sz="1200" dirty="0"/>
          </a:p>
        </p:txBody>
      </p:sp>
      <p:sp>
        <p:nvSpPr>
          <p:cNvPr id="4" name="Workspace [Presentation]"/>
          <p:cNvSpPr/>
          <p:nvPr userDrawn="1"/>
        </p:nvSpPr>
        <p:spPr>
          <a:xfrm>
            <a:off x="9258300" y="36236"/>
            <a:ext cx="2327400" cy="0"/>
          </a:xfrm>
          <a:prstGeom prst="rect">
            <a:avLst/>
          </a:prstGeom>
          <a:noFill/>
          <a:ln w="12700">
            <a:solidFill>
              <a:srgbClr val="D24726"/>
            </a:solidFill>
            <a:prstDash val="lgDash"/>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fontAlgn="auto">
              <a:lnSpc>
                <a:spcPct val="110000"/>
              </a:lnSpc>
              <a:spcBef>
                <a:spcPts val="150"/>
              </a:spcBef>
              <a:spcAft>
                <a:spcPts val="150"/>
              </a:spcAft>
            </a:pPr>
            <a:endParaRPr lang="en-ZA" sz="1200" dirty="0"/>
          </a:p>
        </p:txBody>
      </p:sp>
      <p:grpSp>
        <p:nvGrpSpPr>
          <p:cNvPr id="5" name="Harvey 4" hidden="1"/>
          <p:cNvGrpSpPr>
            <a:grpSpLocks/>
          </p:cNvGrpSpPr>
          <p:nvPr userDrawn="1">
            <p:custDataLst>
              <p:tags r:id="rId18"/>
            </p:custDataLst>
          </p:nvPr>
        </p:nvGrpSpPr>
        <p:grpSpPr>
          <a:xfrm>
            <a:off x="9239250" y="0"/>
            <a:ext cx="219456" cy="219456"/>
            <a:chOff x="0" y="0"/>
            <a:chExt cx="914400" cy="914400"/>
          </a:xfrm>
          <a:solidFill>
            <a:schemeClr val="tx1"/>
          </a:solidFill>
        </p:grpSpPr>
        <p:sp>
          <p:nvSpPr>
            <p:cNvPr id="6" name="Harvey 0/4 [0]" hidden="1"/>
            <p:cNvSpPr>
              <a:spLocks noChangeAspect="1"/>
            </p:cNvSpPr>
            <p:nvPr>
              <p:custDataLst>
                <p:tags r:id="rId4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Harvey 1/4 [1]" hidden="1"/>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Harvey 2/4 [2]" hidden="1"/>
            <p:cNvSpPr>
              <a:spLocks noChangeAspect="1"/>
            </p:cNvSpPr>
            <p:nvPr>
              <p:custDataLst>
                <p:tags r:id="rId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Harvey 3/4 [3]" hidden="1"/>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Harvey 4/4 [4]" hidden="1"/>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5" name="Check 3" hidden="1"/>
          <p:cNvGrpSpPr>
            <a:grpSpLocks noChangeAspect="1"/>
          </p:cNvGrpSpPr>
          <p:nvPr userDrawn="1">
            <p:custDataLst>
              <p:tags r:id="rId19"/>
            </p:custDataLst>
          </p:nvPr>
        </p:nvGrpSpPr>
        <p:grpSpPr>
          <a:xfrm>
            <a:off x="9239250" y="0"/>
            <a:ext cx="219456" cy="219456"/>
            <a:chOff x="1813827" y="2949442"/>
            <a:chExt cx="292608" cy="292608"/>
          </a:xfrm>
        </p:grpSpPr>
        <p:sp>
          <p:nvSpPr>
            <p:cNvPr id="16" name="Border [0+]" hidden="1"/>
            <p:cNvSpPr>
              <a:spLocks noChangeAspect="1"/>
            </p:cNvSpPr>
            <p:nvPr>
              <p:custDataLst>
                <p:tags r:id="rId37"/>
              </p:custDataLst>
            </p:nvPr>
          </p:nvSpPr>
          <p:spPr>
            <a:xfrm>
              <a:off x="1813827" y="2949442"/>
              <a:ext cx="292608" cy="29260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heck [1]" hidden="1"/>
            <p:cNvSpPr>
              <a:spLocks noChangeAspect="1"/>
            </p:cNvSpPr>
            <p:nvPr>
              <p:custDataLst>
                <p:tags r:id="rId38"/>
              </p:custDataLst>
            </p:nvPr>
          </p:nvSpPr>
          <p:spPr bwMode="auto">
            <a:xfrm>
              <a:off x="1847830" y="2992904"/>
              <a:ext cx="224602" cy="205684"/>
            </a:xfrm>
            <a:custGeom>
              <a:avLst/>
              <a:gdLst>
                <a:gd name="T0" fmla="*/ 75 w 235"/>
                <a:gd name="T1" fmla="*/ 141 h 178"/>
                <a:gd name="T2" fmla="*/ 19 w 235"/>
                <a:gd name="T3" fmla="*/ 85 h 178"/>
                <a:gd name="T4" fmla="*/ 0 w 235"/>
                <a:gd name="T5" fmla="*/ 104 h 178"/>
                <a:gd name="T6" fmla="*/ 75 w 235"/>
                <a:gd name="T7" fmla="*/ 178 h 178"/>
                <a:gd name="T8" fmla="*/ 235 w 235"/>
                <a:gd name="T9" fmla="*/ 18 h 178"/>
                <a:gd name="T10" fmla="*/ 216 w 235"/>
                <a:gd name="T11" fmla="*/ 0 h 178"/>
                <a:gd name="T12" fmla="*/ 75 w 235"/>
                <a:gd name="T13" fmla="*/ 141 h 178"/>
              </a:gdLst>
              <a:ahLst/>
              <a:cxnLst>
                <a:cxn ang="0">
                  <a:pos x="T0" y="T1"/>
                </a:cxn>
                <a:cxn ang="0">
                  <a:pos x="T2" y="T3"/>
                </a:cxn>
                <a:cxn ang="0">
                  <a:pos x="T4" y="T5"/>
                </a:cxn>
                <a:cxn ang="0">
                  <a:pos x="T6" y="T7"/>
                </a:cxn>
                <a:cxn ang="0">
                  <a:pos x="T8" y="T9"/>
                </a:cxn>
                <a:cxn ang="0">
                  <a:pos x="T10" y="T11"/>
                </a:cxn>
                <a:cxn ang="0">
                  <a:pos x="T12" y="T13"/>
                </a:cxn>
              </a:cxnLst>
              <a:rect l="0" t="0" r="r" b="b"/>
              <a:pathLst>
                <a:path w="235" h="178">
                  <a:moveTo>
                    <a:pt x="75" y="141"/>
                  </a:moveTo>
                  <a:lnTo>
                    <a:pt x="19" y="85"/>
                  </a:lnTo>
                  <a:lnTo>
                    <a:pt x="0" y="104"/>
                  </a:lnTo>
                  <a:lnTo>
                    <a:pt x="75" y="178"/>
                  </a:lnTo>
                  <a:lnTo>
                    <a:pt x="235" y="18"/>
                  </a:lnTo>
                  <a:lnTo>
                    <a:pt x="216" y="0"/>
                  </a:lnTo>
                  <a:lnTo>
                    <a:pt x="75" y="141"/>
                  </a:lnTo>
                  <a:close/>
                </a:path>
              </a:pathLst>
            </a:custGeom>
            <a:solidFill>
              <a:schemeClr val="tx1"/>
            </a:solidFill>
            <a:ln w="1905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18" name="Cross [2]" hidden="1"/>
            <p:cNvSpPr>
              <a:spLocks noChangeAspect="1"/>
            </p:cNvSpPr>
            <p:nvPr>
              <p:custDataLst>
                <p:tags r:id="rId39"/>
              </p:custDataLst>
            </p:nvPr>
          </p:nvSpPr>
          <p:spPr>
            <a:xfrm rot="2700000">
              <a:off x="1852565" y="2988181"/>
              <a:ext cx="215132" cy="215131"/>
            </a:xfrm>
            <a:custGeom>
              <a:avLst/>
              <a:gdLst>
                <a:gd name="connsiteX0" fmla="*/ 0 w 193931"/>
                <a:gd name="connsiteY0" fmla="*/ 74105 h 193930"/>
                <a:gd name="connsiteX1" fmla="*/ 74106 w 193931"/>
                <a:gd name="connsiteY1" fmla="*/ 74105 h 193930"/>
                <a:gd name="connsiteX2" fmla="*/ 74106 w 193931"/>
                <a:gd name="connsiteY2" fmla="*/ 0 h 193930"/>
                <a:gd name="connsiteX3" fmla="*/ 119825 w 193931"/>
                <a:gd name="connsiteY3" fmla="*/ 0 h 193930"/>
                <a:gd name="connsiteX4" fmla="*/ 119825 w 193931"/>
                <a:gd name="connsiteY4" fmla="*/ 74105 h 193930"/>
                <a:gd name="connsiteX5" fmla="*/ 193931 w 193931"/>
                <a:gd name="connsiteY5" fmla="*/ 74105 h 193930"/>
                <a:gd name="connsiteX6" fmla="*/ 193931 w 193931"/>
                <a:gd name="connsiteY6" fmla="*/ 119825 h 193930"/>
                <a:gd name="connsiteX7" fmla="*/ 119825 w 193931"/>
                <a:gd name="connsiteY7" fmla="*/ 119825 h 193930"/>
                <a:gd name="connsiteX8" fmla="*/ 119825 w 193931"/>
                <a:gd name="connsiteY8" fmla="*/ 193930 h 193930"/>
                <a:gd name="connsiteX9" fmla="*/ 74106 w 193931"/>
                <a:gd name="connsiteY9" fmla="*/ 193930 h 193930"/>
                <a:gd name="connsiteX10" fmla="*/ 74106 w 193931"/>
                <a:gd name="connsiteY10" fmla="*/ 119825 h 193930"/>
                <a:gd name="connsiteX11" fmla="*/ 0 w 193931"/>
                <a:gd name="connsiteY11" fmla="*/ 119825 h 19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931" h="193930">
                  <a:moveTo>
                    <a:pt x="0" y="74105"/>
                  </a:moveTo>
                  <a:lnTo>
                    <a:pt x="74106" y="74105"/>
                  </a:lnTo>
                  <a:lnTo>
                    <a:pt x="74106" y="0"/>
                  </a:lnTo>
                  <a:lnTo>
                    <a:pt x="119825" y="0"/>
                  </a:lnTo>
                  <a:lnTo>
                    <a:pt x="119825" y="74105"/>
                  </a:lnTo>
                  <a:lnTo>
                    <a:pt x="193931" y="74105"/>
                  </a:lnTo>
                  <a:lnTo>
                    <a:pt x="193931" y="119825"/>
                  </a:lnTo>
                  <a:lnTo>
                    <a:pt x="119825" y="119825"/>
                  </a:lnTo>
                  <a:lnTo>
                    <a:pt x="119825" y="193930"/>
                  </a:lnTo>
                  <a:lnTo>
                    <a:pt x="74106" y="193930"/>
                  </a:lnTo>
                  <a:lnTo>
                    <a:pt x="74106" y="119825"/>
                  </a:lnTo>
                  <a:lnTo>
                    <a:pt x="0" y="119825"/>
                  </a:lnTo>
                  <a:close/>
                </a:path>
              </a:pathLst>
            </a:cu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19" name="Indicators 3" hidden="1"/>
          <p:cNvGrpSpPr>
            <a:grpSpLocks noChangeAspect="1"/>
          </p:cNvGrpSpPr>
          <p:nvPr userDrawn="1">
            <p:custDataLst>
              <p:tags r:id="rId20"/>
            </p:custDataLst>
          </p:nvPr>
        </p:nvGrpSpPr>
        <p:grpSpPr>
          <a:xfrm>
            <a:off x="9239250" y="0"/>
            <a:ext cx="219456" cy="219456"/>
            <a:chOff x="2854551" y="2971800"/>
            <a:chExt cx="312621" cy="312622"/>
          </a:xfrm>
        </p:grpSpPr>
        <p:sp>
          <p:nvSpPr>
            <p:cNvPr id="20" name="Check Bg [0]" hidden="1"/>
            <p:cNvSpPr>
              <a:spLocks noChangeAspect="1"/>
            </p:cNvSpPr>
            <p:nvPr>
              <p:custDataLst>
                <p:tags r:id="rId31"/>
              </p:custDataLst>
            </p:nvPr>
          </p:nvSpPr>
          <p:spPr>
            <a:xfrm>
              <a:off x="2854551" y="2971800"/>
              <a:ext cx="312621" cy="312622"/>
            </a:xfrm>
            <a:prstGeom prst="ellipse">
              <a:avLst/>
            </a:prstGeom>
            <a:solidFill>
              <a:srgbClr val="009A4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heck Icon [0]" hidden="1"/>
            <p:cNvSpPr>
              <a:spLocks noChangeAspect="1"/>
            </p:cNvSpPr>
            <p:nvPr>
              <p:custDataLst>
                <p:tags r:id="rId32"/>
              </p:custDataLst>
            </p:nvPr>
          </p:nvSpPr>
          <p:spPr bwMode="auto">
            <a:xfrm>
              <a:off x="2916233" y="3048000"/>
              <a:ext cx="189258" cy="173318"/>
            </a:xfrm>
            <a:custGeom>
              <a:avLst/>
              <a:gdLst>
                <a:gd name="T0" fmla="*/ 75 w 235"/>
                <a:gd name="T1" fmla="*/ 141 h 178"/>
                <a:gd name="T2" fmla="*/ 19 w 235"/>
                <a:gd name="T3" fmla="*/ 85 h 178"/>
                <a:gd name="T4" fmla="*/ 0 w 235"/>
                <a:gd name="T5" fmla="*/ 104 h 178"/>
                <a:gd name="T6" fmla="*/ 75 w 235"/>
                <a:gd name="T7" fmla="*/ 178 h 178"/>
                <a:gd name="T8" fmla="*/ 235 w 235"/>
                <a:gd name="T9" fmla="*/ 18 h 178"/>
                <a:gd name="T10" fmla="*/ 216 w 235"/>
                <a:gd name="T11" fmla="*/ 0 h 178"/>
                <a:gd name="T12" fmla="*/ 75 w 235"/>
                <a:gd name="T13" fmla="*/ 141 h 178"/>
              </a:gdLst>
              <a:ahLst/>
              <a:cxnLst>
                <a:cxn ang="0">
                  <a:pos x="T0" y="T1"/>
                </a:cxn>
                <a:cxn ang="0">
                  <a:pos x="T2" y="T3"/>
                </a:cxn>
                <a:cxn ang="0">
                  <a:pos x="T4" y="T5"/>
                </a:cxn>
                <a:cxn ang="0">
                  <a:pos x="T6" y="T7"/>
                </a:cxn>
                <a:cxn ang="0">
                  <a:pos x="T8" y="T9"/>
                </a:cxn>
                <a:cxn ang="0">
                  <a:pos x="T10" y="T11"/>
                </a:cxn>
                <a:cxn ang="0">
                  <a:pos x="T12" y="T13"/>
                </a:cxn>
              </a:cxnLst>
              <a:rect l="0" t="0" r="r" b="b"/>
              <a:pathLst>
                <a:path w="235" h="178">
                  <a:moveTo>
                    <a:pt x="75" y="141"/>
                  </a:moveTo>
                  <a:lnTo>
                    <a:pt x="19" y="85"/>
                  </a:lnTo>
                  <a:lnTo>
                    <a:pt x="0" y="104"/>
                  </a:lnTo>
                  <a:lnTo>
                    <a:pt x="75" y="178"/>
                  </a:lnTo>
                  <a:lnTo>
                    <a:pt x="235" y="18"/>
                  </a:lnTo>
                  <a:lnTo>
                    <a:pt x="216" y="0"/>
                  </a:lnTo>
                  <a:lnTo>
                    <a:pt x="75" y="141"/>
                  </a:lnTo>
                  <a:close/>
                </a:path>
              </a:pathLst>
            </a:custGeom>
            <a:solidFill>
              <a:srgbClr val="FFFFFF"/>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22" name="Warning Bg [1]" hidden="1"/>
            <p:cNvSpPr>
              <a:spLocks noChangeAspect="1"/>
            </p:cNvSpPr>
            <p:nvPr>
              <p:custDataLst>
                <p:tags r:id="rId33"/>
              </p:custDataLst>
            </p:nvPr>
          </p:nvSpPr>
          <p:spPr>
            <a:xfrm>
              <a:off x="2854551" y="2971800"/>
              <a:ext cx="312621" cy="312622"/>
            </a:xfrm>
            <a:prstGeom prst="ellipse">
              <a:avLst/>
            </a:prstGeom>
            <a:solidFill>
              <a:srgbClr val="FFCD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Warning Icon [1]" hidden="1"/>
            <p:cNvSpPr>
              <a:spLocks noChangeAspect="1"/>
            </p:cNvSpPr>
            <p:nvPr>
              <p:custDataLst>
                <p:tags r:id="rId34"/>
              </p:custDataLst>
            </p:nvPr>
          </p:nvSpPr>
          <p:spPr>
            <a:xfrm>
              <a:off x="2988002" y="3032566"/>
              <a:ext cx="45719" cy="191089"/>
            </a:xfrm>
            <a:custGeom>
              <a:avLst/>
              <a:gdLst>
                <a:gd name="connsiteX0" fmla="*/ 0 w 45719"/>
                <a:gd name="connsiteY0" fmla="*/ 145370 h 191089"/>
                <a:gd name="connsiteX1" fmla="*/ 45719 w 45719"/>
                <a:gd name="connsiteY1" fmla="*/ 145370 h 191089"/>
                <a:gd name="connsiteX2" fmla="*/ 45719 w 45719"/>
                <a:gd name="connsiteY2" fmla="*/ 191089 h 191089"/>
                <a:gd name="connsiteX3" fmla="*/ 0 w 45719"/>
                <a:gd name="connsiteY3" fmla="*/ 191089 h 191089"/>
                <a:gd name="connsiteX4" fmla="*/ 0 w 45719"/>
                <a:gd name="connsiteY4" fmla="*/ 0 h 191089"/>
                <a:gd name="connsiteX5" fmla="*/ 45719 w 45719"/>
                <a:gd name="connsiteY5" fmla="*/ 0 h 191089"/>
                <a:gd name="connsiteX6" fmla="*/ 45719 w 45719"/>
                <a:gd name="connsiteY6" fmla="*/ 100038 h 191089"/>
                <a:gd name="connsiteX7" fmla="*/ 0 w 45719"/>
                <a:gd name="connsiteY7" fmla="*/ 100038 h 19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19" h="191089">
                  <a:moveTo>
                    <a:pt x="0" y="145370"/>
                  </a:moveTo>
                  <a:lnTo>
                    <a:pt x="45719" y="145370"/>
                  </a:lnTo>
                  <a:lnTo>
                    <a:pt x="45719" y="191089"/>
                  </a:lnTo>
                  <a:lnTo>
                    <a:pt x="0" y="191089"/>
                  </a:lnTo>
                  <a:close/>
                  <a:moveTo>
                    <a:pt x="0" y="0"/>
                  </a:moveTo>
                  <a:lnTo>
                    <a:pt x="45719" y="0"/>
                  </a:lnTo>
                  <a:lnTo>
                    <a:pt x="45719" y="100038"/>
                  </a:lnTo>
                  <a:lnTo>
                    <a:pt x="0" y="100038"/>
                  </a:lnTo>
                  <a:close/>
                </a:path>
              </a:pathLst>
            </a:custGeom>
            <a:solidFill>
              <a:srgbClr val="505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Error Bg [2]" hidden="1"/>
            <p:cNvSpPr>
              <a:spLocks noChangeAspect="1"/>
            </p:cNvSpPr>
            <p:nvPr>
              <p:custDataLst>
                <p:tags r:id="rId35"/>
              </p:custDataLst>
            </p:nvPr>
          </p:nvSpPr>
          <p:spPr>
            <a:xfrm>
              <a:off x="2854551" y="2971800"/>
              <a:ext cx="312621" cy="312622"/>
            </a:xfrm>
            <a:prstGeom prst="ellipse">
              <a:avLst/>
            </a:prstGeom>
            <a:solidFill>
              <a:srgbClr val="DA291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Error Icon [2]" hidden="1"/>
            <p:cNvSpPr>
              <a:spLocks noChangeAspect="1"/>
            </p:cNvSpPr>
            <p:nvPr>
              <p:custDataLst>
                <p:tags r:id="rId36"/>
              </p:custDataLst>
            </p:nvPr>
          </p:nvSpPr>
          <p:spPr>
            <a:xfrm rot="2700000">
              <a:off x="2913895" y="3031146"/>
              <a:ext cx="193931" cy="193930"/>
            </a:xfrm>
            <a:custGeom>
              <a:avLst/>
              <a:gdLst>
                <a:gd name="connsiteX0" fmla="*/ 0 w 193931"/>
                <a:gd name="connsiteY0" fmla="*/ 74105 h 193930"/>
                <a:gd name="connsiteX1" fmla="*/ 74106 w 193931"/>
                <a:gd name="connsiteY1" fmla="*/ 74105 h 193930"/>
                <a:gd name="connsiteX2" fmla="*/ 74106 w 193931"/>
                <a:gd name="connsiteY2" fmla="*/ 0 h 193930"/>
                <a:gd name="connsiteX3" fmla="*/ 119825 w 193931"/>
                <a:gd name="connsiteY3" fmla="*/ 0 h 193930"/>
                <a:gd name="connsiteX4" fmla="*/ 119825 w 193931"/>
                <a:gd name="connsiteY4" fmla="*/ 74105 h 193930"/>
                <a:gd name="connsiteX5" fmla="*/ 193931 w 193931"/>
                <a:gd name="connsiteY5" fmla="*/ 74105 h 193930"/>
                <a:gd name="connsiteX6" fmla="*/ 193931 w 193931"/>
                <a:gd name="connsiteY6" fmla="*/ 119825 h 193930"/>
                <a:gd name="connsiteX7" fmla="*/ 119825 w 193931"/>
                <a:gd name="connsiteY7" fmla="*/ 119825 h 193930"/>
                <a:gd name="connsiteX8" fmla="*/ 119825 w 193931"/>
                <a:gd name="connsiteY8" fmla="*/ 193930 h 193930"/>
                <a:gd name="connsiteX9" fmla="*/ 74106 w 193931"/>
                <a:gd name="connsiteY9" fmla="*/ 193930 h 193930"/>
                <a:gd name="connsiteX10" fmla="*/ 74106 w 193931"/>
                <a:gd name="connsiteY10" fmla="*/ 119825 h 193930"/>
                <a:gd name="connsiteX11" fmla="*/ 0 w 193931"/>
                <a:gd name="connsiteY11" fmla="*/ 119825 h 19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931" h="193930">
                  <a:moveTo>
                    <a:pt x="0" y="74105"/>
                  </a:moveTo>
                  <a:lnTo>
                    <a:pt x="74106" y="74105"/>
                  </a:lnTo>
                  <a:lnTo>
                    <a:pt x="74106" y="0"/>
                  </a:lnTo>
                  <a:lnTo>
                    <a:pt x="119825" y="0"/>
                  </a:lnTo>
                  <a:lnTo>
                    <a:pt x="119825" y="74105"/>
                  </a:lnTo>
                  <a:lnTo>
                    <a:pt x="193931" y="74105"/>
                  </a:lnTo>
                  <a:lnTo>
                    <a:pt x="193931" y="119825"/>
                  </a:lnTo>
                  <a:lnTo>
                    <a:pt x="119825" y="119825"/>
                  </a:lnTo>
                  <a:lnTo>
                    <a:pt x="119825" y="193930"/>
                  </a:lnTo>
                  <a:lnTo>
                    <a:pt x="74106" y="193930"/>
                  </a:lnTo>
                  <a:lnTo>
                    <a:pt x="74106" y="119825"/>
                  </a:lnTo>
                  <a:lnTo>
                    <a:pt x="0" y="119825"/>
                  </a:ln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6" name="Harvey 8" hidden="1"/>
          <p:cNvGrpSpPr>
            <a:grpSpLocks/>
          </p:cNvGrpSpPr>
          <p:nvPr userDrawn="1">
            <p:custDataLst>
              <p:tags r:id="rId21"/>
            </p:custDataLst>
          </p:nvPr>
        </p:nvGrpSpPr>
        <p:grpSpPr>
          <a:xfrm>
            <a:off x="9239250" y="0"/>
            <a:ext cx="219456" cy="219456"/>
            <a:chOff x="0" y="0"/>
            <a:chExt cx="914400" cy="914400"/>
          </a:xfrm>
          <a:solidFill>
            <a:schemeClr val="tx1"/>
          </a:solidFill>
        </p:grpSpPr>
        <p:sp>
          <p:nvSpPr>
            <p:cNvPr id="27" name="Harvey 0/8 [0]" hidden="1"/>
            <p:cNvSpPr>
              <a:spLocks noChangeAspect="1"/>
            </p:cNvSpPr>
            <p:nvPr>
              <p:custDataLst>
                <p:tags r:id="rId2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 name="Harvey 1/8 [1]" hidden="1"/>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 name="Harvey 2/8 [2]" hidden="1"/>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 name="Harvey 3/8 [3]" hidden="1"/>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 name="Harvey 4/8 [4]" hidden="1"/>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 name="Harvey 5/8 [5]" hidden="1"/>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 name="Harvey 6/8 [6]" hidden="1"/>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Harvey 7/8 [7]" hidden="1"/>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5" name="Harvey 8/8 [8]" hidden="1"/>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283675255"/>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9" r:id="rId10"/>
    <p:sldLayoutId id="2147484090" r:id="rId11"/>
    <p:sldLayoutId id="2147484091" r:id="rId12"/>
    <p:sldLayoutId id="2147484092" r:id="rId13"/>
    <p:sldLayoutId id="2147484094" r:id="rId14"/>
  </p:sldLayoutIdLst>
  <p:hf hdr="0" ftr="0" dt="0"/>
  <p:txStyles>
    <p:titleStyle>
      <a:lvl1pPr algn="l" defTabSz="914378" rtl="0" eaLnBrk="1" latinLnBrk="0" hangingPunct="1">
        <a:lnSpc>
          <a:spcPct val="120000"/>
        </a:lnSpc>
        <a:spcBef>
          <a:spcPts val="200"/>
        </a:spcBef>
        <a:spcAft>
          <a:spcPts val="200"/>
        </a:spcAft>
        <a:buNone/>
        <a:defRPr sz="2000" kern="1200" baseline="0">
          <a:solidFill>
            <a:schemeClr val="bg1"/>
          </a:solidFill>
          <a:latin typeface="+mj-lt"/>
          <a:ea typeface="+mj-ea"/>
          <a:cs typeface="+mj-cs"/>
        </a:defRPr>
      </a:lvl1pPr>
    </p:titleStyle>
    <p:bodyStyle>
      <a:lvl1pPr marL="0" indent="0" algn="l" defTabSz="914378"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1" indent="-177796" algn="l" defTabSz="914378"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75" indent="-188909" algn="l" defTabSz="914378"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23" indent="-228594" algn="l" defTabSz="914378"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02" indent="-173034" algn="l" defTabSz="914378"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361543"/>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 id="2147484119" r:id="rId23"/>
    <p:sldLayoutId id="2147484120" r:id="rId24"/>
    <p:sldLayoutId id="2147484121" r:id="rId25"/>
    <p:sldLayoutId id="2147484122" r:id="rId26"/>
    <p:sldLayoutId id="2147484123" r:id="rId27"/>
    <p:sldLayoutId id="2147484124" r:id="rId28"/>
    <p:sldLayoutId id="2147484125" r:id="rId29"/>
    <p:sldLayoutId id="2147484126" r:id="rId30"/>
    <p:sldLayoutId id="2147484127" r:id="rId31"/>
  </p:sldLayoutIdLst>
  <p:txStyles>
    <p:titleStyle>
      <a:lvl1pPr algn="l" defTabSz="914378" rtl="0" eaLnBrk="1" latinLnBrk="0" hangingPunct="1">
        <a:lnSpc>
          <a:spcPct val="120000"/>
        </a:lnSpc>
        <a:spcBef>
          <a:spcPts val="200"/>
        </a:spcBef>
        <a:spcAft>
          <a:spcPts val="200"/>
        </a:spcAft>
        <a:buNone/>
        <a:defRPr sz="2000" kern="1200" baseline="0">
          <a:solidFill>
            <a:schemeClr val="bg1"/>
          </a:solidFill>
          <a:latin typeface="+mj-lt"/>
          <a:ea typeface="+mj-ea"/>
          <a:cs typeface="+mj-cs"/>
        </a:defRPr>
      </a:lvl1pPr>
    </p:titleStyle>
    <p:bodyStyle>
      <a:lvl1pPr marL="0" indent="0" algn="l" defTabSz="914378"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1" indent="-177796" algn="l" defTabSz="914378"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75" indent="-188909" algn="l" defTabSz="914378"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23" indent="-228594" algn="l" defTabSz="914378"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02" indent="-173034" algn="l" defTabSz="914378"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brightzeed.com/" TargetMode="External"/><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42.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43.xml"/><Relationship Id="rId4" Type="http://schemas.openxmlformats.org/officeDocument/2006/relationships/image" Target="../media/image43.emf"/></Relationships>
</file>

<file path=ppt/slides/_rels/slide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75FA437-50E1-1344-9039-DA02A4C06378}"/>
              </a:ext>
            </a:extLst>
          </p:cNvPr>
          <p:cNvSpPr>
            <a:spLocks noGrp="1"/>
          </p:cNvSpPr>
          <p:nvPr>
            <p:ph type="body" sz="quarter" idx="10"/>
          </p:nvPr>
        </p:nvSpPr>
        <p:spPr>
          <a:xfrm>
            <a:off x="4943683" y="2866931"/>
            <a:ext cx="4200317" cy="1482454"/>
          </a:xfrm>
        </p:spPr>
        <p:txBody>
          <a:bodyPr/>
          <a:lstStyle/>
          <a:p>
            <a:pPr algn="l">
              <a:lnSpc>
                <a:spcPct val="100000"/>
              </a:lnSpc>
            </a:pPr>
            <a:r>
              <a:rPr lang="en-US" sz="1800" b="1" dirty="0">
                <a:solidFill>
                  <a:schemeClr val="accent2"/>
                </a:solidFill>
              </a:rPr>
              <a:t>Cyber Resilience</a:t>
            </a:r>
          </a:p>
          <a:p>
            <a:pPr algn="l">
              <a:lnSpc>
                <a:spcPct val="100000"/>
              </a:lnSpc>
            </a:pPr>
            <a:r>
              <a:rPr lang="en-US" sz="1800" b="1" dirty="0">
                <a:solidFill>
                  <a:schemeClr val="accent2"/>
                </a:solidFill>
              </a:rPr>
              <a:t>and </a:t>
            </a:r>
          </a:p>
          <a:p>
            <a:pPr algn="l">
              <a:lnSpc>
                <a:spcPct val="100000"/>
              </a:lnSpc>
            </a:pPr>
            <a:r>
              <a:rPr lang="en-US" sz="1800" b="1" dirty="0">
                <a:solidFill>
                  <a:schemeClr val="accent2"/>
                </a:solidFill>
              </a:rPr>
              <a:t>Board Involvement</a:t>
            </a:r>
          </a:p>
          <a:p>
            <a:pPr algn="l"/>
            <a:r>
              <a:rPr lang="en-US" sz="1200" b="1" dirty="0"/>
              <a:t>A different approach</a:t>
            </a:r>
            <a:endParaRPr lang="en-ZA" sz="1200" dirty="0"/>
          </a:p>
        </p:txBody>
      </p:sp>
      <p:sp>
        <p:nvSpPr>
          <p:cNvPr id="2" name="Shape 720">
            <a:extLst>
              <a:ext uri="{FF2B5EF4-FFF2-40B4-BE49-F238E27FC236}">
                <a16:creationId xmlns:a16="http://schemas.microsoft.com/office/drawing/2014/main" id="{3573021A-EB7A-4939-BDB7-9E4C7A3326D8}"/>
              </a:ext>
            </a:extLst>
          </p:cNvPr>
          <p:cNvSpPr txBox="1">
            <a:spLocks/>
          </p:cNvSpPr>
          <p:nvPr/>
        </p:nvSpPr>
        <p:spPr>
          <a:xfrm>
            <a:off x="1646419" y="4349385"/>
            <a:ext cx="2553900" cy="71832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rtl="0">
              <a:lnSpc>
                <a:spcPct val="90000"/>
              </a:lnSpc>
              <a:spcBef>
                <a:spcPts val="750"/>
              </a:spcBef>
              <a:spcAft>
                <a:spcPts val="0"/>
              </a:spcAft>
              <a:buChar char="●"/>
              <a:defRPr sz="1800" b="0" i="0" u="none" strike="noStrike" cap="none">
                <a:solidFill>
                  <a:schemeClr val="dk1"/>
                </a:solidFill>
                <a:latin typeface="Arial"/>
                <a:ea typeface="Arial"/>
                <a:cs typeface="Arial"/>
                <a:sym typeface="Arial"/>
              </a:defRPr>
            </a:lvl1pPr>
            <a:lvl2pPr marL="342305" marR="0" lvl="1" indent="-12105" algn="l" rtl="0">
              <a:lnSpc>
                <a:spcPct val="90000"/>
              </a:lnSpc>
              <a:spcBef>
                <a:spcPts val="375"/>
              </a:spcBef>
              <a:spcAft>
                <a:spcPts val="0"/>
              </a:spcAft>
              <a:buChar char="○"/>
              <a:defRPr sz="1800" b="0" i="0" u="none" strike="noStrike" cap="none">
                <a:solidFill>
                  <a:schemeClr val="dk1"/>
                </a:solidFill>
                <a:latin typeface="Arial"/>
                <a:ea typeface="Arial"/>
                <a:cs typeface="Arial"/>
                <a:sym typeface="Arial"/>
              </a:defRPr>
            </a:lvl2pPr>
            <a:lvl3pPr marL="685205" marR="0" lvl="2" indent="-12104" algn="l" rtl="0">
              <a:lnSpc>
                <a:spcPct val="90000"/>
              </a:lnSpc>
              <a:spcBef>
                <a:spcPts val="375"/>
              </a:spcBef>
              <a:spcAft>
                <a:spcPts val="0"/>
              </a:spcAft>
              <a:buChar char="■"/>
              <a:defRPr sz="1800" b="0" i="0" u="none" strike="noStrike" cap="none">
                <a:solidFill>
                  <a:schemeClr val="dk1"/>
                </a:solidFill>
                <a:latin typeface="Arial"/>
                <a:ea typeface="Arial"/>
                <a:cs typeface="Arial"/>
                <a:sym typeface="Arial"/>
              </a:defRPr>
            </a:lvl3pPr>
            <a:lvl4pPr marL="1028105" marR="0" lvl="3" indent="-12104" algn="l" rtl="0">
              <a:lnSpc>
                <a:spcPct val="90000"/>
              </a:lnSpc>
              <a:spcBef>
                <a:spcPts val="375"/>
              </a:spcBef>
              <a:spcAft>
                <a:spcPts val="0"/>
              </a:spcAft>
              <a:buChar char="●"/>
              <a:defRPr sz="1800" b="0" i="0" u="none" strike="noStrike" cap="none">
                <a:solidFill>
                  <a:schemeClr val="dk1"/>
                </a:solidFill>
                <a:latin typeface="Arial"/>
                <a:ea typeface="Arial"/>
                <a:cs typeface="Arial"/>
                <a:sym typeface="Arial"/>
              </a:defRPr>
            </a:lvl4pPr>
            <a:lvl5pPr marL="1371005" marR="0" lvl="4" indent="-12104" algn="l" rtl="0">
              <a:lnSpc>
                <a:spcPct val="90000"/>
              </a:lnSpc>
              <a:spcBef>
                <a:spcPts val="375"/>
              </a:spcBef>
              <a:spcAft>
                <a:spcPts val="0"/>
              </a:spcAft>
              <a:buChar char="○"/>
              <a:defRPr sz="1800" b="0" i="0" u="none" strike="noStrike" cap="none">
                <a:solidFill>
                  <a:schemeClr val="dk1"/>
                </a:solidFill>
                <a:latin typeface="Arial"/>
                <a:ea typeface="Arial"/>
                <a:cs typeface="Arial"/>
                <a:sym typeface="Arial"/>
              </a:defRPr>
            </a:lvl5pPr>
            <a:lvl6pPr marL="1885573" marR="0" lvl="5" indent="-98048"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404" marR="0" lvl="6" indent="-97978"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236" marR="0" lvl="7" indent="-97911"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067" marR="0" lvl="8" indent="-97842"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a:spcBef>
                <a:spcPts val="0"/>
              </a:spcBef>
              <a:buFontTx/>
              <a:buNone/>
            </a:pPr>
            <a:r>
              <a:rPr lang="en-US" sz="1400" b="1" dirty="0">
                <a:solidFill>
                  <a:schemeClr val="bg1"/>
                </a:solidFill>
              </a:rPr>
              <a:t>Bright G. Mawudor, PhD: </a:t>
            </a:r>
            <a:endParaRPr lang="en-US" sz="1400" dirty="0">
              <a:solidFill>
                <a:schemeClr val="bg1"/>
              </a:solidFill>
            </a:endParaRPr>
          </a:p>
          <a:p>
            <a:pPr>
              <a:spcBef>
                <a:spcPts val="0"/>
              </a:spcBef>
              <a:buFontTx/>
              <a:buNone/>
            </a:pPr>
            <a:r>
              <a:rPr lang="en-US" sz="1400" u="sng" dirty="0">
                <a:solidFill>
                  <a:schemeClr val="bg1"/>
                </a:solidFill>
                <a:hlinkClick r:id="rId3">
                  <a:extLst>
                    <a:ext uri="{A12FA001-AC4F-418D-AE19-62706E023703}">
                      <ahyp:hlinkClr xmlns:ahyp="http://schemas.microsoft.com/office/drawing/2018/hyperlinkcolor" val="tx"/>
                    </a:ext>
                  </a:extLst>
                </a:hlinkClick>
              </a:rPr>
              <a:t>www.brightzeed.com</a:t>
            </a:r>
            <a:endParaRPr lang="en-US" sz="1400" u="sng" dirty="0">
              <a:solidFill>
                <a:schemeClr val="bg1"/>
              </a:solidFill>
            </a:endParaRPr>
          </a:p>
          <a:p>
            <a:pPr>
              <a:spcBef>
                <a:spcPts val="0"/>
              </a:spcBef>
              <a:buFontTx/>
              <a:buNone/>
            </a:pPr>
            <a:endParaRPr lang="en-US" sz="1400" dirty="0"/>
          </a:p>
        </p:txBody>
      </p:sp>
    </p:spTree>
    <p:extLst>
      <p:ext uri="{BB962C8B-B14F-4D97-AF65-F5344CB8AC3E}">
        <p14:creationId xmlns:p14="http://schemas.microsoft.com/office/powerpoint/2010/main" val="14851661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4518E2C2-D320-0642-833A-3CAB2B1D0ECB}"/>
              </a:ext>
            </a:extLst>
          </p:cNvPr>
          <p:cNvPicPr>
            <a:picLocks noGrp="1" noChangeAspect="1"/>
          </p:cNvPicPr>
          <p:nvPr>
            <p:ph type="pic" sz="quarter" idx="12"/>
          </p:nvPr>
        </p:nvPicPr>
        <p:blipFill>
          <a:blip r:embed="rId3" cstate="hqprint">
            <a:extLst>
              <a:ext uri="{28A0092B-C50C-407E-A947-70E740481C1C}">
                <a14:useLocalDpi xmlns:a14="http://schemas.microsoft.com/office/drawing/2010/main"/>
              </a:ext>
            </a:extLst>
          </a:blip>
          <a:stretch>
            <a:fillRect/>
          </a:stretch>
        </p:blipFill>
        <p:spPr>
          <a:xfrm>
            <a:off x="0" y="-394"/>
            <a:ext cx="9144000" cy="5143500"/>
          </a:xfrm>
        </p:spPr>
      </p:pic>
      <p:sp>
        <p:nvSpPr>
          <p:cNvPr id="6" name="Rectangle 5">
            <a:extLst>
              <a:ext uri="{FF2B5EF4-FFF2-40B4-BE49-F238E27FC236}">
                <a16:creationId xmlns:a16="http://schemas.microsoft.com/office/drawing/2014/main" id="{7FE6ED42-9998-480E-8E3D-516A60686779}"/>
              </a:ext>
            </a:extLst>
          </p:cNvPr>
          <p:cNvSpPr/>
          <p:nvPr/>
        </p:nvSpPr>
        <p:spPr>
          <a:xfrm>
            <a:off x="0" y="2203704"/>
            <a:ext cx="9144000" cy="2939796"/>
          </a:xfrm>
          <a:prstGeom prst="rect">
            <a:avLst/>
          </a:prstGeom>
          <a:gradFill>
            <a:gsLst>
              <a:gs pos="0">
                <a:schemeClr val="accent1">
                  <a:lumMod val="0"/>
                  <a:alpha val="0"/>
                </a:schemeClr>
              </a:gs>
              <a:gs pos="99000">
                <a:schemeClr val="accent1">
                  <a:lumMod val="0"/>
                  <a:alpha val="85000"/>
                </a:schemeClr>
              </a:gs>
            </a:gsLst>
            <a:lin ang="5400000" scaled="1"/>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US" sz="1600"/>
          </a:p>
        </p:txBody>
      </p:sp>
      <p:sp>
        <p:nvSpPr>
          <p:cNvPr id="3" name="Text Placeholder 2"/>
          <p:cNvSpPr>
            <a:spLocks noGrp="1"/>
          </p:cNvSpPr>
          <p:nvPr>
            <p:ph type="body" sz="quarter" idx="11"/>
          </p:nvPr>
        </p:nvSpPr>
        <p:spPr>
          <a:xfrm>
            <a:off x="721255" y="4317318"/>
            <a:ext cx="7114891" cy="825788"/>
          </a:xfrm>
        </p:spPr>
        <p:txBody>
          <a:bodyPr/>
          <a:lstStyle/>
          <a:p>
            <a:r>
              <a:rPr lang="en-US" sz="2400">
                <a:solidFill>
                  <a:srgbClr val="FFFFFF"/>
                </a:solidFill>
              </a:rPr>
              <a:t>Thank you</a:t>
            </a:r>
          </a:p>
          <a:p>
            <a:pPr algn="r"/>
            <a:endParaRPr lang="en-US">
              <a:solidFill>
                <a:srgbClr val="FFFFFF"/>
              </a:solidFill>
            </a:endParaRPr>
          </a:p>
        </p:txBody>
      </p:sp>
      <p:cxnSp>
        <p:nvCxnSpPr>
          <p:cNvPr id="5" name="Straight Connector 4">
            <a:extLst>
              <a:ext uri="{FF2B5EF4-FFF2-40B4-BE49-F238E27FC236}">
                <a16:creationId xmlns:a16="http://schemas.microsoft.com/office/drawing/2014/main" id="{0CD4BEA1-92A7-4BDA-99DE-AD9F97BD59B3}"/>
              </a:ext>
            </a:extLst>
          </p:cNvPr>
          <p:cNvCxnSpPr>
            <a:cxnSpLocks/>
          </p:cNvCxnSpPr>
          <p:nvPr/>
        </p:nvCxnSpPr>
        <p:spPr>
          <a:xfrm>
            <a:off x="806557" y="4231243"/>
            <a:ext cx="975341"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840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0C40DEF-EBD0-4FB0-A670-147C3C96AD8A}"/>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 y="0"/>
            <a:ext cx="9144000" cy="5143500"/>
          </a:xfrm>
          <a:prstGeom prst="rect">
            <a:avLst/>
          </a:prstGeom>
        </p:spPr>
      </p:pic>
      <p:sp>
        <p:nvSpPr>
          <p:cNvPr id="7" name="Rectangle 6">
            <a:extLst>
              <a:ext uri="{FF2B5EF4-FFF2-40B4-BE49-F238E27FC236}">
                <a16:creationId xmlns:a16="http://schemas.microsoft.com/office/drawing/2014/main" id="{42349503-5154-490C-B079-797CE4E96F77}"/>
              </a:ext>
            </a:extLst>
          </p:cNvPr>
          <p:cNvSpPr/>
          <p:nvPr/>
        </p:nvSpPr>
        <p:spPr>
          <a:xfrm>
            <a:off x="0" y="0"/>
            <a:ext cx="9144000" cy="5143500"/>
          </a:xfrm>
          <a:prstGeom prst="rect">
            <a:avLst/>
          </a:prstGeom>
          <a:solidFill>
            <a:srgbClr val="232A33">
              <a:alpha val="45098"/>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914378">
              <a:lnSpc>
                <a:spcPct val="110000"/>
              </a:lnSpc>
              <a:spcBef>
                <a:spcPts val="200"/>
              </a:spcBef>
              <a:spcAft>
                <a:spcPts val="200"/>
              </a:spcAft>
            </a:pPr>
            <a:endParaRPr lang="en-US" sz="1600" kern="0">
              <a:solidFill>
                <a:prstClr val="white"/>
              </a:solidFill>
            </a:endParaRPr>
          </a:p>
        </p:txBody>
      </p:sp>
      <p:sp>
        <p:nvSpPr>
          <p:cNvPr id="9" name="Text Placeholder 7">
            <a:extLst>
              <a:ext uri="{FF2B5EF4-FFF2-40B4-BE49-F238E27FC236}">
                <a16:creationId xmlns:a16="http://schemas.microsoft.com/office/drawing/2014/main" id="{E88907D8-07BD-4994-A66B-9188C0E8A2C3}"/>
              </a:ext>
            </a:extLst>
          </p:cNvPr>
          <p:cNvSpPr txBox="1">
            <a:spLocks/>
          </p:cNvSpPr>
          <p:nvPr/>
        </p:nvSpPr>
        <p:spPr>
          <a:xfrm>
            <a:off x="1222175" y="3639419"/>
            <a:ext cx="6699647" cy="1411046"/>
          </a:xfrm>
          <a:prstGeom prst="rect">
            <a:avLst/>
          </a:prstGeom>
        </p:spPr>
        <p:txBody>
          <a:bodyPr/>
          <a:lstStyle>
            <a:lvl1pPr marL="0" indent="0" algn="l" defTabSz="914400" rtl="0" eaLnBrk="1" latinLnBrk="0" hangingPunct="1">
              <a:lnSpc>
                <a:spcPct val="114000"/>
              </a:lnSpc>
              <a:spcBef>
                <a:spcPts val="600"/>
              </a:spcBef>
              <a:spcAft>
                <a:spcPts val="100"/>
              </a:spcAft>
              <a:buFont typeface="Arial" pitchFamily="34" charset="0"/>
              <a:buNone/>
              <a:defRPr sz="1600" kern="1200">
                <a:solidFill>
                  <a:schemeClr val="tx1"/>
                </a:solidFill>
                <a:latin typeface="+mn-lt"/>
                <a:ea typeface="+mn-ea"/>
                <a:cs typeface="+mn-cs"/>
              </a:defRPr>
            </a:lvl1pPr>
            <a:lvl2pPr marL="268288" indent="-177800" algn="l" defTabSz="914400" rtl="0" eaLnBrk="1" latinLnBrk="0" hangingPunct="1">
              <a:lnSpc>
                <a:spcPct val="114000"/>
              </a:lnSpc>
              <a:spcBef>
                <a:spcPts val="200"/>
              </a:spcBef>
              <a:spcAft>
                <a:spcPts val="400"/>
              </a:spcAft>
              <a:buFont typeface="Arial" pitchFamily="34" charset="0"/>
              <a:buChar char="•"/>
              <a:defRPr sz="1600" kern="1200">
                <a:solidFill>
                  <a:schemeClr val="tx1"/>
                </a:solidFill>
                <a:latin typeface="+mn-lt"/>
                <a:ea typeface="+mn-ea"/>
                <a:cs typeface="+mn-cs"/>
              </a:defRPr>
            </a:lvl2pPr>
            <a:lvl3pPr marL="534988" indent="-188913" algn="l" defTabSz="914400" rtl="0" eaLnBrk="1" latinLnBrk="0" hangingPunct="1">
              <a:lnSpc>
                <a:spcPct val="114000"/>
              </a:lnSpc>
              <a:spcBef>
                <a:spcPts val="100"/>
              </a:spcBef>
              <a:spcAft>
                <a:spcPts val="200"/>
              </a:spcAft>
              <a:buFont typeface="Arial" pitchFamily="34" charset="0"/>
              <a:buChar char="›"/>
              <a:defRPr sz="1600" kern="1200">
                <a:solidFill>
                  <a:schemeClr val="tx1"/>
                </a:solidFill>
                <a:latin typeface="+mn-lt"/>
                <a:ea typeface="+mn-ea"/>
                <a:cs typeface="+mn-cs"/>
              </a:defRPr>
            </a:lvl3pPr>
            <a:lvl4pPr marL="1085850" indent="-228600" algn="l" defTabSz="914400" rtl="0" eaLnBrk="1" latinLnBrk="0" hangingPunct="1">
              <a:lnSpc>
                <a:spcPct val="114000"/>
              </a:lnSpc>
              <a:spcBef>
                <a:spcPts val="100"/>
              </a:spcBef>
              <a:spcAft>
                <a:spcPts val="400"/>
              </a:spcAft>
              <a:buFont typeface="Arial" pitchFamily="34" charset="0"/>
              <a:buChar char="»"/>
              <a:defRPr sz="1600" kern="1200">
                <a:solidFill>
                  <a:schemeClr val="tx1"/>
                </a:solidFill>
                <a:latin typeface="+mn-lt"/>
                <a:ea typeface="+mn-ea"/>
                <a:cs typeface="+mn-cs"/>
              </a:defRPr>
            </a:lvl4pPr>
            <a:lvl5pPr marL="1443038" indent="-173038" algn="l" defTabSz="914400" rtl="0" eaLnBrk="1" latinLnBrk="0" hangingPunct="1">
              <a:lnSpc>
                <a:spcPct val="114000"/>
              </a:lnSpc>
              <a:spcBef>
                <a:spcPts val="100"/>
              </a:spcBef>
              <a:spcAft>
                <a:spcPts val="600"/>
              </a:spcAft>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lnSpc>
                <a:spcPct val="100000"/>
              </a:lnSpc>
            </a:pPr>
            <a:r>
              <a:rPr lang="en-US" sz="2400" dirty="0">
                <a:solidFill>
                  <a:schemeClr val="bg1"/>
                </a:solidFill>
              </a:rPr>
              <a:t>“No one thinks they are going to </a:t>
            </a:r>
          </a:p>
          <a:p>
            <a:pPr algn="ctr" fontAlgn="auto">
              <a:lnSpc>
                <a:spcPct val="100000"/>
              </a:lnSpc>
            </a:pPr>
            <a:r>
              <a:rPr lang="en-US" sz="2400" dirty="0">
                <a:solidFill>
                  <a:schemeClr val="bg1"/>
                </a:solidFill>
              </a:rPr>
              <a:t>be a victim of a Cyber Attack Until it happens to THEM”</a:t>
            </a:r>
            <a:endParaRPr lang="en-US" sz="2400" i="1" dirty="0">
              <a:solidFill>
                <a:srgbClr val="FF0000"/>
              </a:solidFill>
              <a:latin typeface="Georgia" panose="02040502050405020303" pitchFamily="18" charset="0"/>
            </a:endParaRPr>
          </a:p>
        </p:txBody>
      </p:sp>
      <p:cxnSp>
        <p:nvCxnSpPr>
          <p:cNvPr id="6" name="Straight Connector 5">
            <a:extLst>
              <a:ext uri="{FF2B5EF4-FFF2-40B4-BE49-F238E27FC236}">
                <a16:creationId xmlns:a16="http://schemas.microsoft.com/office/drawing/2014/main" id="{3EC26D7A-4FF4-45FE-AE67-8F73A7F491B0}"/>
              </a:ext>
            </a:extLst>
          </p:cNvPr>
          <p:cNvCxnSpPr/>
          <p:nvPr/>
        </p:nvCxnSpPr>
        <p:spPr>
          <a:xfrm>
            <a:off x="4130059" y="4922080"/>
            <a:ext cx="883878" cy="0"/>
          </a:xfrm>
          <a:prstGeom prst="line">
            <a:avLst/>
          </a:prstGeom>
          <a:ln w="57150" cmpd="sng"/>
        </p:spPr>
        <p:style>
          <a:lnRef idx="2">
            <a:schemeClr val="accent1"/>
          </a:lnRef>
          <a:fillRef idx="0">
            <a:schemeClr val="accent1"/>
          </a:fillRef>
          <a:effectRef idx="1">
            <a:schemeClr val="accent1"/>
          </a:effectRef>
          <a:fontRef idx="minor">
            <a:schemeClr val="tx1"/>
          </a:fontRef>
        </p:style>
      </p:cxnSp>
      <p:grpSp>
        <p:nvGrpSpPr>
          <p:cNvPr id="10" name="Group 9">
            <a:extLst>
              <a:ext uri="{FF2B5EF4-FFF2-40B4-BE49-F238E27FC236}">
                <a16:creationId xmlns:a16="http://schemas.microsoft.com/office/drawing/2014/main" id="{8B168A7D-BACD-4AE4-BCCB-D127370EC274}"/>
              </a:ext>
            </a:extLst>
          </p:cNvPr>
          <p:cNvGrpSpPr/>
          <p:nvPr/>
        </p:nvGrpSpPr>
        <p:grpSpPr>
          <a:xfrm>
            <a:off x="8708168" y="77241"/>
            <a:ext cx="355551" cy="355551"/>
            <a:chOff x="8708168" y="77241"/>
            <a:chExt cx="355551" cy="355551"/>
          </a:xfrm>
        </p:grpSpPr>
        <p:sp>
          <p:nvSpPr>
            <p:cNvPr id="12" name="Oval 11">
              <a:extLst>
                <a:ext uri="{FF2B5EF4-FFF2-40B4-BE49-F238E27FC236}">
                  <a16:creationId xmlns:a16="http://schemas.microsoft.com/office/drawing/2014/main" id="{94F946E1-C210-464A-BF30-DE4626EF3DA1}"/>
                </a:ext>
              </a:extLst>
            </p:cNvPr>
            <p:cNvSpPr/>
            <p:nvPr/>
          </p:nvSpPr>
          <p:spPr>
            <a:xfrm>
              <a:off x="8708168" y="77241"/>
              <a:ext cx="355551" cy="355551"/>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110000"/>
                </a:lnSpc>
                <a:spcBef>
                  <a:spcPts val="200"/>
                </a:spcBef>
                <a:spcAft>
                  <a:spcPts val="200"/>
                </a:spcAft>
              </a:pPr>
              <a:endParaRPr lang="en-ZA" sz="1600"/>
            </a:p>
          </p:txBody>
        </p:sp>
        <p:pic>
          <p:nvPicPr>
            <p:cNvPr id="13" name="Picture 12">
              <a:extLst>
                <a:ext uri="{FF2B5EF4-FFF2-40B4-BE49-F238E27FC236}">
                  <a16:creationId xmlns:a16="http://schemas.microsoft.com/office/drawing/2014/main" id="{8D7A1252-FC65-4DDF-A36D-16B786AA8AF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66522" y="123646"/>
              <a:ext cx="238841" cy="238841"/>
            </a:xfrm>
            <a:prstGeom prst="rect">
              <a:avLst/>
            </a:prstGeom>
          </p:spPr>
        </p:pic>
      </p:grpSp>
    </p:spTree>
    <p:extLst>
      <p:ext uri="{BB962C8B-B14F-4D97-AF65-F5344CB8AC3E}">
        <p14:creationId xmlns:p14="http://schemas.microsoft.com/office/powerpoint/2010/main" val="1776053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F60C453-A924-475E-80FE-7651E3031CFF}"/>
              </a:ext>
            </a:extLst>
          </p:cNvPr>
          <p:cNvSpPr txBox="1">
            <a:spLocks/>
          </p:cNvSpPr>
          <p:nvPr/>
        </p:nvSpPr>
        <p:spPr>
          <a:xfrm>
            <a:off x="1789065" y="126583"/>
            <a:ext cx="5718234" cy="595313"/>
          </a:xfrm>
          <a:prstGeom prst="rect">
            <a:avLst/>
          </a:prstGeom>
        </p:spPr>
        <p:txBody>
          <a:bodyPr/>
          <a:lstStyle>
            <a:lvl1pPr algn="l" defTabSz="914378" rtl="0" eaLnBrk="1" latinLnBrk="0" hangingPunct="1">
              <a:lnSpc>
                <a:spcPct val="120000"/>
              </a:lnSpc>
              <a:spcBef>
                <a:spcPts val="200"/>
              </a:spcBef>
              <a:spcAft>
                <a:spcPts val="200"/>
              </a:spcAft>
              <a:buNone/>
              <a:defRPr sz="2000" kern="1200" baseline="0">
                <a:solidFill>
                  <a:schemeClr val="bg1"/>
                </a:solidFill>
                <a:latin typeface="+mj-lt"/>
                <a:ea typeface="+mj-ea"/>
                <a:cs typeface="+mj-cs"/>
              </a:defRPr>
            </a:lvl1pPr>
          </a:lstStyle>
          <a:p>
            <a:pPr fontAlgn="auto"/>
            <a:r>
              <a:rPr lang="en-US" sz="2800" dirty="0"/>
              <a:t>Cyber Security Breach Statistics</a:t>
            </a:r>
          </a:p>
        </p:txBody>
      </p:sp>
      <p:cxnSp>
        <p:nvCxnSpPr>
          <p:cNvPr id="8" name="Straight Connector 7">
            <a:extLst>
              <a:ext uri="{FF2B5EF4-FFF2-40B4-BE49-F238E27FC236}">
                <a16:creationId xmlns:a16="http://schemas.microsoft.com/office/drawing/2014/main" id="{472343BD-732B-41ED-92A3-95D0B5C971E5}"/>
              </a:ext>
            </a:extLst>
          </p:cNvPr>
          <p:cNvCxnSpPr>
            <a:cxnSpLocks/>
          </p:cNvCxnSpPr>
          <p:nvPr/>
        </p:nvCxnSpPr>
        <p:spPr>
          <a:xfrm>
            <a:off x="3506936" y="859701"/>
            <a:ext cx="1846556" cy="0"/>
          </a:xfrm>
          <a:prstGeom prst="line">
            <a:avLst/>
          </a:prstGeom>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72BD602F-0FB9-4264-9269-A312A6B43BE5}"/>
              </a:ext>
            </a:extLst>
          </p:cNvPr>
          <p:cNvSpPr/>
          <p:nvPr/>
        </p:nvSpPr>
        <p:spPr>
          <a:xfrm>
            <a:off x="969478" y="1326696"/>
            <a:ext cx="6269379" cy="3046988"/>
          </a:xfrm>
          <a:prstGeom prst="rect">
            <a:avLst/>
          </a:prstGeom>
        </p:spPr>
        <p:txBody>
          <a:bodyPr wrap="square">
            <a:spAutoFit/>
          </a:bodyPr>
          <a:lstStyle/>
          <a:p>
            <a:pPr marL="285750" indent="-285750">
              <a:buFont typeface="Arial" panose="020B0604020202020204" pitchFamily="34" charset="0"/>
              <a:buChar char="•"/>
            </a:pPr>
            <a:r>
              <a:rPr lang="en-US" sz="1600" dirty="0">
                <a:solidFill>
                  <a:schemeClr val="bg1"/>
                </a:solidFill>
              </a:rPr>
              <a:t>Breaches take a median length of 86 days to be detected,</a:t>
            </a:r>
          </a:p>
          <a:p>
            <a:pPr marL="285750" indent="-285750">
              <a:buFont typeface="Arial" panose="020B0604020202020204" pitchFamily="34" charset="0"/>
              <a:buChar char="•"/>
            </a:pPr>
            <a:r>
              <a:rPr lang="en-US" sz="1600" dirty="0">
                <a:solidFill>
                  <a:schemeClr val="bg1"/>
                </a:solidFill>
              </a:rPr>
              <a:t>and 111 days from intrusion to containment</a:t>
            </a:r>
          </a:p>
          <a:p>
            <a:pPr marL="285750"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27% of organizations encountered a CEO fraud attack in the past 12 months.</a:t>
            </a:r>
          </a:p>
          <a:p>
            <a:pPr marL="285750"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74% of cybersecurity professionals say their organization has been impacted by the global cybersecurity skills shortage.</a:t>
            </a:r>
          </a:p>
          <a:p>
            <a:pPr marL="285750"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In both cloud and POS environments, 60% of breach investigations can attribute successful social engineering as the conduit to initial point of entry</a:t>
            </a:r>
          </a:p>
        </p:txBody>
      </p:sp>
    </p:spTree>
    <p:extLst>
      <p:ext uri="{BB962C8B-B14F-4D97-AF65-F5344CB8AC3E}">
        <p14:creationId xmlns:p14="http://schemas.microsoft.com/office/powerpoint/2010/main" val="82252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763E36-8097-4416-8607-918D191DE489}"/>
              </a:ext>
            </a:extLst>
          </p:cNvPr>
          <p:cNvSpPr>
            <a:spLocks noGrp="1"/>
          </p:cNvSpPr>
          <p:nvPr>
            <p:ph type="body" sz="quarter" idx="10"/>
          </p:nvPr>
        </p:nvSpPr>
        <p:spPr>
          <a:xfrm>
            <a:off x="532398" y="811125"/>
            <a:ext cx="7662019" cy="384175"/>
          </a:xfrm>
        </p:spPr>
        <p:txBody>
          <a:bodyPr/>
          <a:lstStyle/>
          <a:p>
            <a:r>
              <a:rPr lang="en-US" sz="2200" dirty="0"/>
              <a:t>When Does The Board Get Involved</a:t>
            </a:r>
          </a:p>
        </p:txBody>
      </p:sp>
      <p:sp>
        <p:nvSpPr>
          <p:cNvPr id="4" name="Rectangle 3">
            <a:extLst>
              <a:ext uri="{FF2B5EF4-FFF2-40B4-BE49-F238E27FC236}">
                <a16:creationId xmlns:a16="http://schemas.microsoft.com/office/drawing/2014/main" id="{44B03512-F413-4EF0-BBBA-CB2DD0ABC47E}"/>
              </a:ext>
            </a:extLst>
          </p:cNvPr>
          <p:cNvSpPr/>
          <p:nvPr/>
        </p:nvSpPr>
        <p:spPr>
          <a:xfrm>
            <a:off x="452652" y="1710966"/>
            <a:ext cx="5948147" cy="2499402"/>
          </a:xfrm>
          <a:prstGeom prst="rect">
            <a:avLst/>
          </a:prstGeom>
        </p:spPr>
        <p:txBody>
          <a:bodyPr wrap="square">
            <a:spAutoFit/>
          </a:bodyPr>
          <a:lstStyle/>
          <a:p>
            <a:r>
              <a:rPr lang="en-US" b="1" dirty="0">
                <a:solidFill>
                  <a:srgbClr val="FF0000"/>
                </a:solidFill>
                <a:cs typeface="Calibri"/>
              </a:rPr>
              <a:t>The Board &amp; Senior Management </a:t>
            </a:r>
          </a:p>
          <a:p>
            <a:r>
              <a:rPr lang="en-US" b="1" dirty="0">
                <a:solidFill>
                  <a:srgbClr val="FF0000"/>
                </a:solidFill>
                <a:cs typeface="Calibri"/>
              </a:rPr>
              <a:t>Usually Want To Only Get Involved When: </a:t>
            </a:r>
          </a:p>
          <a:p>
            <a:endParaRPr lang="en-US" b="1" dirty="0">
              <a:solidFill>
                <a:schemeClr val="bg1">
                  <a:lumMod val="95000"/>
                </a:schemeClr>
              </a:solidFill>
              <a:cs typeface="Calibri"/>
            </a:endParaRPr>
          </a:p>
          <a:p>
            <a:pPr marL="171450" indent="-171450">
              <a:buFont typeface="Arial" panose="020B0604020202020204" pitchFamily="34" charset="0"/>
              <a:buChar char="•"/>
            </a:pPr>
            <a:r>
              <a:rPr lang="en-US" b="1" dirty="0">
                <a:solidFill>
                  <a:schemeClr val="bg1">
                    <a:lumMod val="95000"/>
                  </a:schemeClr>
                </a:solidFill>
                <a:cs typeface="Calibri"/>
              </a:rPr>
              <a:t>Security Breach Has Occurred</a:t>
            </a:r>
          </a:p>
          <a:p>
            <a:pPr marL="171450" indent="-171450">
              <a:lnSpc>
                <a:spcPct val="120000"/>
              </a:lnSpc>
              <a:buFont typeface="Arial" panose="020B0604020202020204" pitchFamily="34" charset="0"/>
              <a:buChar char="•"/>
            </a:pPr>
            <a:r>
              <a:rPr lang="en-US" b="1" dirty="0">
                <a:solidFill>
                  <a:schemeClr val="bg1">
                    <a:lumMod val="95000"/>
                  </a:schemeClr>
                </a:solidFill>
                <a:cs typeface="Calibri"/>
              </a:rPr>
              <a:t>Reputational Damage Is On The Line</a:t>
            </a:r>
          </a:p>
          <a:p>
            <a:pPr marL="171450" indent="-171450">
              <a:lnSpc>
                <a:spcPct val="120000"/>
              </a:lnSpc>
              <a:buFont typeface="Arial" panose="020B0604020202020204" pitchFamily="34" charset="0"/>
              <a:buChar char="•"/>
            </a:pPr>
            <a:r>
              <a:rPr lang="en-US" b="1" dirty="0">
                <a:solidFill>
                  <a:schemeClr val="bg1">
                    <a:lumMod val="95000"/>
                  </a:schemeClr>
                </a:solidFill>
                <a:cs typeface="Calibri"/>
              </a:rPr>
              <a:t>Financial Lost Has Been Triggered</a:t>
            </a:r>
          </a:p>
          <a:p>
            <a:pPr marL="171450" indent="-171450">
              <a:lnSpc>
                <a:spcPct val="120000"/>
              </a:lnSpc>
              <a:buFont typeface="Arial" panose="020B0604020202020204" pitchFamily="34" charset="0"/>
              <a:buChar char="•"/>
            </a:pPr>
            <a:r>
              <a:rPr lang="en-US" b="1" dirty="0">
                <a:solidFill>
                  <a:schemeClr val="bg1">
                    <a:lumMod val="95000"/>
                  </a:schemeClr>
                </a:solidFill>
                <a:cs typeface="Calibri"/>
              </a:rPr>
              <a:t>Total Lockdown Of Systems And Network</a:t>
            </a:r>
          </a:p>
          <a:p>
            <a:pPr>
              <a:lnSpc>
                <a:spcPct val="120000"/>
              </a:lnSpc>
            </a:pPr>
            <a:endParaRPr lang="en-US" b="1" dirty="0">
              <a:solidFill>
                <a:schemeClr val="bg1">
                  <a:lumMod val="95000"/>
                </a:schemeClr>
              </a:solidFill>
              <a:cs typeface="Calibri"/>
            </a:endParaRPr>
          </a:p>
        </p:txBody>
      </p:sp>
    </p:spTree>
    <p:extLst>
      <p:ext uri="{BB962C8B-B14F-4D97-AF65-F5344CB8AC3E}">
        <p14:creationId xmlns:p14="http://schemas.microsoft.com/office/powerpoint/2010/main" val="4239196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1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142E16-B292-314B-A046-32D38BA3953A}"/>
              </a:ext>
            </a:extLst>
          </p:cNvPr>
          <p:cNvSpPr txBox="1">
            <a:spLocks/>
          </p:cNvSpPr>
          <p:nvPr/>
        </p:nvSpPr>
        <p:spPr>
          <a:xfrm>
            <a:off x="0" y="170278"/>
            <a:ext cx="6411720" cy="625335"/>
          </a:xfrm>
          <a:prstGeom prst="rect">
            <a:avLst/>
          </a:prstGeom>
        </p:spPr>
        <p:txBody>
          <a:bodyPr anchor="ctr"/>
          <a:lstStyle>
            <a:lvl1pPr algn="l" defTabSz="914400" rtl="0" eaLnBrk="1" latinLnBrk="0" hangingPunct="1">
              <a:lnSpc>
                <a:spcPct val="120000"/>
              </a:lnSpc>
              <a:spcBef>
                <a:spcPts val="200"/>
              </a:spcBef>
              <a:spcAft>
                <a:spcPts val="200"/>
              </a:spcAft>
              <a:buNone/>
              <a:defRPr sz="2000" b="1" kern="1200" baseline="0">
                <a:solidFill>
                  <a:srgbClr val="FFFFFF"/>
                </a:solidFill>
                <a:latin typeface="+mj-lt"/>
                <a:ea typeface="+mj-ea"/>
                <a:cs typeface="+mj-cs"/>
              </a:defRPr>
            </a:lvl1pPr>
          </a:lstStyle>
          <a:p>
            <a:pPr marL="0" marR="0" lvl="0" indent="0" algn="ctr" defTabSz="914400" rtl="0" eaLnBrk="1" fontAlgn="base" latinLnBrk="0" hangingPunct="1">
              <a:lnSpc>
                <a:spcPct val="120000"/>
              </a:lnSpc>
              <a:spcBef>
                <a:spcPts val="200"/>
              </a:spcBef>
              <a:spcAft>
                <a:spcPts val="20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mj-lt"/>
              <a:ea typeface="+mj-ea"/>
              <a:cs typeface="+mj-cs"/>
            </a:endParaRPr>
          </a:p>
          <a:p>
            <a:pPr marL="0" marR="0" lvl="0" indent="0" algn="ctr" defTabSz="914400" rtl="0" eaLnBrk="1" fontAlgn="base" latinLnBrk="0" hangingPunct="1">
              <a:lnSpc>
                <a:spcPct val="120000"/>
              </a:lnSpc>
              <a:spcBef>
                <a:spcPts val="200"/>
              </a:spcBef>
              <a:spcAft>
                <a:spcPts val="200"/>
              </a:spcAft>
              <a:buClrTx/>
              <a:buSzTx/>
              <a:buFontTx/>
              <a:buNone/>
              <a:tabLst/>
              <a:defRPr/>
            </a:pPr>
            <a:r>
              <a:rPr kumimoji="0" lang="en-US" sz="3200" b="1" i="0" u="none" strike="noStrike" kern="1200" cap="none" spc="0" normalizeH="0" baseline="0" noProof="0">
                <a:ln>
                  <a:noFill/>
                </a:ln>
                <a:solidFill>
                  <a:prstClr val="white"/>
                </a:solidFill>
                <a:effectLst/>
                <a:uLnTx/>
                <a:uFillTx/>
                <a:latin typeface="+mj-lt"/>
                <a:ea typeface="+mj-ea"/>
                <a:cs typeface="+mj-cs"/>
              </a:rPr>
              <a:t> </a:t>
            </a:r>
          </a:p>
        </p:txBody>
      </p:sp>
      <p:grpSp>
        <p:nvGrpSpPr>
          <p:cNvPr id="33" name="Group 32">
            <a:extLst>
              <a:ext uri="{FF2B5EF4-FFF2-40B4-BE49-F238E27FC236}">
                <a16:creationId xmlns:a16="http://schemas.microsoft.com/office/drawing/2014/main" id="{F48D11F1-F1EB-4FE3-8615-981B97981535}"/>
              </a:ext>
            </a:extLst>
          </p:cNvPr>
          <p:cNvGrpSpPr/>
          <p:nvPr/>
        </p:nvGrpSpPr>
        <p:grpSpPr>
          <a:xfrm>
            <a:off x="3414410" y="1370220"/>
            <a:ext cx="2425102" cy="3603002"/>
            <a:chOff x="4869624" y="2607028"/>
            <a:chExt cx="2425102" cy="3603002"/>
          </a:xfrm>
        </p:grpSpPr>
        <p:grpSp>
          <p:nvGrpSpPr>
            <p:cNvPr id="34" name="Group 245">
              <a:extLst>
                <a:ext uri="{FF2B5EF4-FFF2-40B4-BE49-F238E27FC236}">
                  <a16:creationId xmlns:a16="http://schemas.microsoft.com/office/drawing/2014/main" id="{2B7BCCC2-69AC-43E3-8845-3C558C4C33F8}"/>
                </a:ext>
              </a:extLst>
            </p:cNvPr>
            <p:cNvGrpSpPr/>
            <p:nvPr/>
          </p:nvGrpSpPr>
          <p:grpSpPr>
            <a:xfrm>
              <a:off x="4869624" y="2607028"/>
              <a:ext cx="2425102" cy="3603002"/>
              <a:chOff x="4168751" y="1735138"/>
              <a:chExt cx="1000125" cy="1485900"/>
            </a:xfrm>
            <a:gradFill>
              <a:gsLst>
                <a:gs pos="0">
                  <a:schemeClr val="accent2"/>
                </a:gs>
                <a:gs pos="100000">
                  <a:schemeClr val="accent1"/>
                </a:gs>
              </a:gsLst>
              <a:lin ang="13500000" scaled="1"/>
            </a:gradFill>
            <a:effectLst>
              <a:outerShdw blurRad="254000" dist="38100" dir="8100000" algn="tr" rotWithShape="0">
                <a:prstClr val="black">
                  <a:alpha val="40000"/>
                </a:prstClr>
              </a:outerShdw>
            </a:effectLst>
          </p:grpSpPr>
          <p:sp>
            <p:nvSpPr>
              <p:cNvPr id="36" name="Freeform 123">
                <a:extLst>
                  <a:ext uri="{FF2B5EF4-FFF2-40B4-BE49-F238E27FC236}">
                    <a16:creationId xmlns:a16="http://schemas.microsoft.com/office/drawing/2014/main" id="{C5175DB4-11C1-4CB3-A264-9C2C0835ADBB}"/>
                  </a:ext>
                </a:extLst>
              </p:cNvPr>
              <p:cNvSpPr>
                <a:spLocks/>
              </p:cNvSpPr>
              <p:nvPr/>
            </p:nvSpPr>
            <p:spPr bwMode="auto">
              <a:xfrm>
                <a:off x="4429102" y="3038475"/>
                <a:ext cx="479425" cy="61913"/>
              </a:xfrm>
              <a:custGeom>
                <a:avLst/>
                <a:gdLst/>
                <a:ahLst/>
                <a:cxnLst>
                  <a:cxn ang="0">
                    <a:pos x="163" y="11"/>
                  </a:cxn>
                  <a:cxn ang="0">
                    <a:pos x="153" y="21"/>
                  </a:cxn>
                  <a:cxn ang="0">
                    <a:pos x="10" y="21"/>
                  </a:cxn>
                  <a:cxn ang="0">
                    <a:pos x="0" y="11"/>
                  </a:cxn>
                  <a:cxn ang="0">
                    <a:pos x="10" y="0"/>
                  </a:cxn>
                  <a:cxn ang="0">
                    <a:pos x="153" y="0"/>
                  </a:cxn>
                  <a:cxn ang="0">
                    <a:pos x="163" y="11"/>
                  </a:cxn>
                </a:cxnLst>
                <a:rect l="0" t="0" r="r" b="b"/>
                <a:pathLst>
                  <a:path w="163" h="21">
                    <a:moveTo>
                      <a:pt x="163" y="11"/>
                    </a:moveTo>
                    <a:cubicBezTo>
                      <a:pt x="163" y="16"/>
                      <a:pt x="158" y="21"/>
                      <a:pt x="153" y="21"/>
                    </a:cubicBezTo>
                    <a:cubicBezTo>
                      <a:pt x="10" y="21"/>
                      <a:pt x="10" y="21"/>
                      <a:pt x="10" y="21"/>
                    </a:cubicBezTo>
                    <a:cubicBezTo>
                      <a:pt x="5" y="21"/>
                      <a:pt x="0" y="16"/>
                      <a:pt x="0" y="11"/>
                    </a:cubicBezTo>
                    <a:cubicBezTo>
                      <a:pt x="0" y="5"/>
                      <a:pt x="5" y="0"/>
                      <a:pt x="10" y="0"/>
                    </a:cubicBezTo>
                    <a:cubicBezTo>
                      <a:pt x="153" y="0"/>
                      <a:pt x="153" y="0"/>
                      <a:pt x="153" y="0"/>
                    </a:cubicBezTo>
                    <a:cubicBezTo>
                      <a:pt x="158" y="0"/>
                      <a:pt x="163" y="5"/>
                      <a:pt x="163" y="1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1600"/>
              </a:p>
            </p:txBody>
          </p:sp>
          <p:sp>
            <p:nvSpPr>
              <p:cNvPr id="37" name="Freeform 124">
                <a:extLst>
                  <a:ext uri="{FF2B5EF4-FFF2-40B4-BE49-F238E27FC236}">
                    <a16:creationId xmlns:a16="http://schemas.microsoft.com/office/drawing/2014/main" id="{3E5BC2BA-4982-4AE4-A397-048BC7895D01}"/>
                  </a:ext>
                </a:extLst>
              </p:cNvPr>
              <p:cNvSpPr>
                <a:spLocks/>
              </p:cNvSpPr>
              <p:nvPr/>
            </p:nvSpPr>
            <p:spPr bwMode="auto">
              <a:xfrm>
                <a:off x="4429102" y="2952750"/>
                <a:ext cx="479425" cy="61913"/>
              </a:xfrm>
              <a:custGeom>
                <a:avLst/>
                <a:gdLst/>
                <a:ahLst/>
                <a:cxnLst>
                  <a:cxn ang="0">
                    <a:pos x="163" y="11"/>
                  </a:cxn>
                  <a:cxn ang="0">
                    <a:pos x="153" y="21"/>
                  </a:cxn>
                  <a:cxn ang="0">
                    <a:pos x="10" y="21"/>
                  </a:cxn>
                  <a:cxn ang="0">
                    <a:pos x="0" y="11"/>
                  </a:cxn>
                  <a:cxn ang="0">
                    <a:pos x="10" y="0"/>
                  </a:cxn>
                  <a:cxn ang="0">
                    <a:pos x="153" y="0"/>
                  </a:cxn>
                  <a:cxn ang="0">
                    <a:pos x="163" y="11"/>
                  </a:cxn>
                </a:cxnLst>
                <a:rect l="0" t="0" r="r" b="b"/>
                <a:pathLst>
                  <a:path w="163" h="21">
                    <a:moveTo>
                      <a:pt x="163" y="11"/>
                    </a:moveTo>
                    <a:cubicBezTo>
                      <a:pt x="163" y="16"/>
                      <a:pt x="158" y="21"/>
                      <a:pt x="153" y="21"/>
                    </a:cubicBezTo>
                    <a:cubicBezTo>
                      <a:pt x="10" y="21"/>
                      <a:pt x="10" y="21"/>
                      <a:pt x="10" y="21"/>
                    </a:cubicBezTo>
                    <a:cubicBezTo>
                      <a:pt x="5" y="21"/>
                      <a:pt x="0" y="16"/>
                      <a:pt x="0" y="11"/>
                    </a:cubicBezTo>
                    <a:cubicBezTo>
                      <a:pt x="0" y="5"/>
                      <a:pt x="5" y="0"/>
                      <a:pt x="10" y="0"/>
                    </a:cubicBezTo>
                    <a:cubicBezTo>
                      <a:pt x="153" y="0"/>
                      <a:pt x="153" y="0"/>
                      <a:pt x="153" y="0"/>
                    </a:cubicBezTo>
                    <a:cubicBezTo>
                      <a:pt x="158" y="0"/>
                      <a:pt x="163" y="5"/>
                      <a:pt x="163" y="1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1600"/>
              </a:p>
            </p:txBody>
          </p:sp>
          <p:sp>
            <p:nvSpPr>
              <p:cNvPr id="38" name="Freeform 125">
                <a:extLst>
                  <a:ext uri="{FF2B5EF4-FFF2-40B4-BE49-F238E27FC236}">
                    <a16:creationId xmlns:a16="http://schemas.microsoft.com/office/drawing/2014/main" id="{665D10AA-E559-4B71-A29C-8BC7E912EF14}"/>
                  </a:ext>
                </a:extLst>
              </p:cNvPr>
              <p:cNvSpPr>
                <a:spLocks/>
              </p:cNvSpPr>
              <p:nvPr/>
            </p:nvSpPr>
            <p:spPr bwMode="auto">
              <a:xfrm>
                <a:off x="4470377" y="3125788"/>
                <a:ext cx="379413" cy="95250"/>
              </a:xfrm>
              <a:custGeom>
                <a:avLst/>
                <a:gdLst/>
                <a:ahLst/>
                <a:cxnLst>
                  <a:cxn ang="0">
                    <a:pos x="0" y="0"/>
                  </a:cxn>
                  <a:cxn ang="0">
                    <a:pos x="129" y="0"/>
                  </a:cxn>
                  <a:cxn ang="0">
                    <a:pos x="63" y="30"/>
                  </a:cxn>
                  <a:cxn ang="0">
                    <a:pos x="0" y="0"/>
                  </a:cxn>
                </a:cxnLst>
                <a:rect l="0" t="0" r="r" b="b"/>
                <a:pathLst>
                  <a:path w="129" h="32">
                    <a:moveTo>
                      <a:pt x="0" y="0"/>
                    </a:moveTo>
                    <a:cubicBezTo>
                      <a:pt x="129" y="0"/>
                      <a:pt x="129" y="0"/>
                      <a:pt x="129" y="0"/>
                    </a:cubicBezTo>
                    <a:cubicBezTo>
                      <a:pt x="129" y="0"/>
                      <a:pt x="120" y="32"/>
                      <a:pt x="63" y="30"/>
                    </a:cubicBezTo>
                    <a:cubicBezTo>
                      <a:pt x="17" y="29"/>
                      <a:pt x="0" y="0"/>
                      <a:pt x="0"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1600"/>
              </a:p>
            </p:txBody>
          </p:sp>
          <p:sp>
            <p:nvSpPr>
              <p:cNvPr id="39" name="Freeform 237">
                <a:extLst>
                  <a:ext uri="{FF2B5EF4-FFF2-40B4-BE49-F238E27FC236}">
                    <a16:creationId xmlns:a16="http://schemas.microsoft.com/office/drawing/2014/main" id="{23D7CA7E-A490-4D2D-BBB5-F34924568F5C}"/>
                  </a:ext>
                </a:extLst>
              </p:cNvPr>
              <p:cNvSpPr>
                <a:spLocks noEditPoints="1"/>
              </p:cNvSpPr>
              <p:nvPr/>
            </p:nvSpPr>
            <p:spPr bwMode="auto">
              <a:xfrm>
                <a:off x="4168751" y="1735138"/>
                <a:ext cx="1000125" cy="1179513"/>
              </a:xfrm>
              <a:custGeom>
                <a:avLst/>
                <a:gdLst/>
                <a:ahLst/>
                <a:cxnLst>
                  <a:cxn ang="0">
                    <a:pos x="175" y="0"/>
                  </a:cxn>
                  <a:cxn ang="0">
                    <a:pos x="167" y="0"/>
                  </a:cxn>
                  <a:cxn ang="0">
                    <a:pos x="6" y="165"/>
                  </a:cxn>
                  <a:cxn ang="0">
                    <a:pos x="67" y="318"/>
                  </a:cxn>
                  <a:cxn ang="0">
                    <a:pos x="90" y="396"/>
                  </a:cxn>
                  <a:cxn ang="0">
                    <a:pos x="90" y="396"/>
                  </a:cxn>
                  <a:cxn ang="0">
                    <a:pos x="99" y="401"/>
                  </a:cxn>
                  <a:cxn ang="0">
                    <a:pos x="242" y="401"/>
                  </a:cxn>
                  <a:cxn ang="0">
                    <a:pos x="251" y="396"/>
                  </a:cxn>
                  <a:cxn ang="0">
                    <a:pos x="251" y="396"/>
                  </a:cxn>
                  <a:cxn ang="0">
                    <a:pos x="274" y="318"/>
                  </a:cxn>
                  <a:cxn ang="0">
                    <a:pos x="336" y="165"/>
                  </a:cxn>
                  <a:cxn ang="0">
                    <a:pos x="175" y="0"/>
                  </a:cxn>
                  <a:cxn ang="0">
                    <a:pos x="295" y="166"/>
                  </a:cxn>
                  <a:cxn ang="0">
                    <a:pos x="249" y="282"/>
                  </a:cxn>
                  <a:cxn ang="0">
                    <a:pos x="231" y="352"/>
                  </a:cxn>
                  <a:cxn ang="0">
                    <a:pos x="231" y="352"/>
                  </a:cxn>
                  <a:cxn ang="0">
                    <a:pos x="224" y="356"/>
                  </a:cxn>
                  <a:cxn ang="0">
                    <a:pos x="117" y="356"/>
                  </a:cxn>
                  <a:cxn ang="0">
                    <a:pos x="110" y="352"/>
                  </a:cxn>
                  <a:cxn ang="0">
                    <a:pos x="110" y="352"/>
                  </a:cxn>
                  <a:cxn ang="0">
                    <a:pos x="93" y="282"/>
                  </a:cxn>
                  <a:cxn ang="0">
                    <a:pos x="47" y="166"/>
                  </a:cxn>
                  <a:cxn ang="0">
                    <a:pos x="168" y="43"/>
                  </a:cxn>
                  <a:cxn ang="0">
                    <a:pos x="174" y="43"/>
                  </a:cxn>
                  <a:cxn ang="0">
                    <a:pos x="295" y="166"/>
                  </a:cxn>
                </a:cxnLst>
                <a:rect l="0" t="0" r="r" b="b"/>
                <a:pathLst>
                  <a:path w="341" h="401">
                    <a:moveTo>
                      <a:pt x="175" y="0"/>
                    </a:moveTo>
                    <a:cubicBezTo>
                      <a:pt x="167" y="0"/>
                      <a:pt x="167" y="0"/>
                      <a:pt x="167" y="0"/>
                    </a:cubicBezTo>
                    <a:cubicBezTo>
                      <a:pt x="61" y="7"/>
                      <a:pt x="0" y="83"/>
                      <a:pt x="6" y="165"/>
                    </a:cubicBezTo>
                    <a:cubicBezTo>
                      <a:pt x="12" y="254"/>
                      <a:pt x="61" y="264"/>
                      <a:pt x="67" y="318"/>
                    </a:cubicBezTo>
                    <a:cubicBezTo>
                      <a:pt x="73" y="372"/>
                      <a:pt x="90" y="396"/>
                      <a:pt x="90" y="396"/>
                    </a:cubicBezTo>
                    <a:cubicBezTo>
                      <a:pt x="90" y="396"/>
                      <a:pt x="90" y="396"/>
                      <a:pt x="90" y="396"/>
                    </a:cubicBezTo>
                    <a:cubicBezTo>
                      <a:pt x="92" y="399"/>
                      <a:pt x="96" y="401"/>
                      <a:pt x="99" y="401"/>
                    </a:cubicBezTo>
                    <a:cubicBezTo>
                      <a:pt x="242" y="401"/>
                      <a:pt x="242" y="401"/>
                      <a:pt x="242" y="401"/>
                    </a:cubicBezTo>
                    <a:cubicBezTo>
                      <a:pt x="245" y="401"/>
                      <a:pt x="249" y="399"/>
                      <a:pt x="251" y="396"/>
                    </a:cubicBezTo>
                    <a:cubicBezTo>
                      <a:pt x="251" y="396"/>
                      <a:pt x="251" y="396"/>
                      <a:pt x="251" y="396"/>
                    </a:cubicBezTo>
                    <a:cubicBezTo>
                      <a:pt x="251" y="396"/>
                      <a:pt x="268" y="372"/>
                      <a:pt x="274" y="318"/>
                    </a:cubicBezTo>
                    <a:cubicBezTo>
                      <a:pt x="280" y="264"/>
                      <a:pt x="330" y="254"/>
                      <a:pt x="336" y="165"/>
                    </a:cubicBezTo>
                    <a:cubicBezTo>
                      <a:pt x="341" y="83"/>
                      <a:pt x="280" y="7"/>
                      <a:pt x="175" y="0"/>
                    </a:cubicBezTo>
                    <a:close/>
                    <a:moveTo>
                      <a:pt x="295" y="166"/>
                    </a:moveTo>
                    <a:cubicBezTo>
                      <a:pt x="290" y="234"/>
                      <a:pt x="253" y="241"/>
                      <a:pt x="249" y="282"/>
                    </a:cubicBezTo>
                    <a:cubicBezTo>
                      <a:pt x="244" y="322"/>
                      <a:pt x="231" y="352"/>
                      <a:pt x="231" y="352"/>
                    </a:cubicBezTo>
                    <a:cubicBezTo>
                      <a:pt x="231" y="352"/>
                      <a:pt x="231" y="352"/>
                      <a:pt x="231" y="352"/>
                    </a:cubicBezTo>
                    <a:cubicBezTo>
                      <a:pt x="229" y="354"/>
                      <a:pt x="227" y="356"/>
                      <a:pt x="224" y="356"/>
                    </a:cubicBezTo>
                    <a:cubicBezTo>
                      <a:pt x="117" y="356"/>
                      <a:pt x="117" y="356"/>
                      <a:pt x="117" y="356"/>
                    </a:cubicBezTo>
                    <a:cubicBezTo>
                      <a:pt x="114" y="356"/>
                      <a:pt x="112" y="354"/>
                      <a:pt x="110" y="352"/>
                    </a:cubicBezTo>
                    <a:cubicBezTo>
                      <a:pt x="110" y="352"/>
                      <a:pt x="110" y="352"/>
                      <a:pt x="110" y="352"/>
                    </a:cubicBezTo>
                    <a:cubicBezTo>
                      <a:pt x="110" y="352"/>
                      <a:pt x="98" y="322"/>
                      <a:pt x="93" y="282"/>
                    </a:cubicBezTo>
                    <a:cubicBezTo>
                      <a:pt x="89" y="241"/>
                      <a:pt x="51" y="234"/>
                      <a:pt x="47" y="166"/>
                    </a:cubicBezTo>
                    <a:cubicBezTo>
                      <a:pt x="43" y="105"/>
                      <a:pt x="89" y="48"/>
                      <a:pt x="168" y="43"/>
                    </a:cubicBezTo>
                    <a:cubicBezTo>
                      <a:pt x="174" y="43"/>
                      <a:pt x="174" y="43"/>
                      <a:pt x="174" y="43"/>
                    </a:cubicBezTo>
                    <a:cubicBezTo>
                      <a:pt x="253" y="48"/>
                      <a:pt x="299" y="105"/>
                      <a:pt x="295" y="16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1600"/>
              </a:p>
            </p:txBody>
          </p:sp>
        </p:grpSp>
        <p:sp>
          <p:nvSpPr>
            <p:cNvPr id="35" name="Rectangle 34">
              <a:extLst>
                <a:ext uri="{FF2B5EF4-FFF2-40B4-BE49-F238E27FC236}">
                  <a16:creationId xmlns:a16="http://schemas.microsoft.com/office/drawing/2014/main" id="{5ECA8C7C-2E1B-4C23-B07F-7D2A9CBF4BBE}"/>
                </a:ext>
              </a:extLst>
            </p:cNvPr>
            <p:cNvSpPr/>
            <p:nvPr/>
          </p:nvSpPr>
          <p:spPr>
            <a:xfrm>
              <a:off x="5536192" y="3504929"/>
              <a:ext cx="1091966" cy="523220"/>
            </a:xfrm>
            <a:prstGeom prst="rect">
              <a:avLst/>
            </a:prstGeom>
          </p:spPr>
          <p:txBody>
            <a:bodyPr wrap="none">
              <a:spAutoFit/>
            </a:bodyPr>
            <a:lstStyle/>
            <a:p>
              <a:pPr algn="ctr"/>
              <a:r>
                <a:rPr lang="en-US" sz="2800" b="1" dirty="0">
                  <a:solidFill>
                    <a:schemeClr val="accent1"/>
                  </a:solidFill>
                  <a:latin typeface="Montserrat" panose="00000500000000000000" pitchFamily="50" charset="0"/>
                </a:rPr>
                <a:t>IDEA</a:t>
              </a:r>
            </a:p>
          </p:txBody>
        </p:sp>
      </p:grpSp>
      <p:grpSp>
        <p:nvGrpSpPr>
          <p:cNvPr id="40" name="Group 39">
            <a:extLst>
              <a:ext uri="{FF2B5EF4-FFF2-40B4-BE49-F238E27FC236}">
                <a16:creationId xmlns:a16="http://schemas.microsoft.com/office/drawing/2014/main" id="{340D60B9-6D4D-43BF-8DE0-FBAB2B481D4C}"/>
              </a:ext>
            </a:extLst>
          </p:cNvPr>
          <p:cNvGrpSpPr/>
          <p:nvPr/>
        </p:nvGrpSpPr>
        <p:grpSpPr>
          <a:xfrm>
            <a:off x="2510515" y="962337"/>
            <a:ext cx="4224981" cy="3118913"/>
            <a:chOff x="3969684" y="2206598"/>
            <a:chExt cx="4224981" cy="3118913"/>
          </a:xfrm>
        </p:grpSpPr>
        <p:sp>
          <p:nvSpPr>
            <p:cNvPr id="41" name="Rectangle: Diagonal Corners Rounded 40">
              <a:extLst>
                <a:ext uri="{FF2B5EF4-FFF2-40B4-BE49-F238E27FC236}">
                  <a16:creationId xmlns:a16="http://schemas.microsoft.com/office/drawing/2014/main" id="{937E1D86-8F49-473D-8010-BD8E88145682}"/>
                </a:ext>
              </a:extLst>
            </p:cNvPr>
            <p:cNvSpPr/>
            <p:nvPr/>
          </p:nvSpPr>
          <p:spPr>
            <a:xfrm>
              <a:off x="6858451" y="2206598"/>
              <a:ext cx="916983" cy="916982"/>
            </a:xfrm>
            <a:prstGeom prst="round2DiagRect">
              <a:avLst>
                <a:gd name="adj1" fmla="val 50000"/>
                <a:gd name="adj2" fmla="val 0"/>
              </a:avLst>
            </a:prstGeom>
            <a:solidFill>
              <a:schemeClr val="bg1">
                <a:lumMod val="65000"/>
              </a:schemeClr>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2" name="Rectangle: Diagonal Corners Rounded 41">
              <a:extLst>
                <a:ext uri="{FF2B5EF4-FFF2-40B4-BE49-F238E27FC236}">
                  <a16:creationId xmlns:a16="http://schemas.microsoft.com/office/drawing/2014/main" id="{A0F3B878-621E-4EF4-BBDC-1AF924BFCADA}"/>
                </a:ext>
              </a:extLst>
            </p:cNvPr>
            <p:cNvSpPr/>
            <p:nvPr/>
          </p:nvSpPr>
          <p:spPr>
            <a:xfrm flipH="1">
              <a:off x="4402667" y="2206598"/>
              <a:ext cx="916983" cy="916982"/>
            </a:xfrm>
            <a:prstGeom prst="round2DiagRect">
              <a:avLst>
                <a:gd name="adj1" fmla="val 50000"/>
                <a:gd name="adj2" fmla="val 0"/>
              </a:avLst>
            </a:prstGeom>
            <a:solidFill>
              <a:schemeClr val="bg1">
                <a:lumMod val="75000"/>
              </a:schemeClr>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3" name="Rectangle: Diagonal Corners Rounded 42">
              <a:extLst>
                <a:ext uri="{FF2B5EF4-FFF2-40B4-BE49-F238E27FC236}">
                  <a16:creationId xmlns:a16="http://schemas.microsoft.com/office/drawing/2014/main" id="{9F1A14F6-A5B7-4EDC-94D4-705B843C0AC6}"/>
                </a:ext>
              </a:extLst>
            </p:cNvPr>
            <p:cNvSpPr/>
            <p:nvPr/>
          </p:nvSpPr>
          <p:spPr>
            <a:xfrm flipV="1">
              <a:off x="6857581" y="4408529"/>
              <a:ext cx="916983" cy="916982"/>
            </a:xfrm>
            <a:prstGeom prst="round2DiagRect">
              <a:avLst>
                <a:gd name="adj1" fmla="val 50000"/>
                <a:gd name="adj2" fmla="val 0"/>
              </a:avLst>
            </a:prstGeom>
            <a:solidFill>
              <a:schemeClr val="accent2"/>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4" name="Rectangle: Diagonal Corners Rounded 43">
              <a:extLst>
                <a:ext uri="{FF2B5EF4-FFF2-40B4-BE49-F238E27FC236}">
                  <a16:creationId xmlns:a16="http://schemas.microsoft.com/office/drawing/2014/main" id="{8620CDA6-A89E-41A2-AC28-1E84125DA221}"/>
                </a:ext>
              </a:extLst>
            </p:cNvPr>
            <p:cNvSpPr/>
            <p:nvPr/>
          </p:nvSpPr>
          <p:spPr>
            <a:xfrm flipH="1" flipV="1">
              <a:off x="4404654" y="4408529"/>
              <a:ext cx="916983" cy="916982"/>
            </a:xfrm>
            <a:prstGeom prst="round2DiagRect">
              <a:avLst>
                <a:gd name="adj1" fmla="val 50000"/>
                <a:gd name="adj2" fmla="val 0"/>
              </a:avLst>
            </a:prstGeom>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5" name="Rectangle: Diagonal Corners Rounded 44">
              <a:extLst>
                <a:ext uri="{FF2B5EF4-FFF2-40B4-BE49-F238E27FC236}">
                  <a16:creationId xmlns:a16="http://schemas.microsoft.com/office/drawing/2014/main" id="{17B1D5B6-48A5-49AA-86B1-F429F4B23AEC}"/>
                </a:ext>
              </a:extLst>
            </p:cNvPr>
            <p:cNvSpPr/>
            <p:nvPr/>
          </p:nvSpPr>
          <p:spPr>
            <a:xfrm rot="8100000" flipH="1">
              <a:off x="7277683" y="3309085"/>
              <a:ext cx="916982" cy="916983"/>
            </a:xfrm>
            <a:prstGeom prst="round2DiagRect">
              <a:avLst>
                <a:gd name="adj1" fmla="val 50000"/>
                <a:gd name="adj2" fmla="val 0"/>
              </a:avLst>
            </a:prstGeom>
            <a:solidFill>
              <a:schemeClr val="bg1">
                <a:lumMod val="50000"/>
              </a:schemeClr>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6" name="Rectangle: Diagonal Corners Rounded 45">
              <a:extLst>
                <a:ext uri="{FF2B5EF4-FFF2-40B4-BE49-F238E27FC236}">
                  <a16:creationId xmlns:a16="http://schemas.microsoft.com/office/drawing/2014/main" id="{B774429A-536E-4EA9-9760-25EE186D4311}"/>
                </a:ext>
              </a:extLst>
            </p:cNvPr>
            <p:cNvSpPr/>
            <p:nvPr/>
          </p:nvSpPr>
          <p:spPr>
            <a:xfrm rot="8100000" flipH="1">
              <a:off x="3969684" y="3309085"/>
              <a:ext cx="916982" cy="916983"/>
            </a:xfrm>
            <a:prstGeom prst="round2DiagRect">
              <a:avLst>
                <a:gd name="adj1" fmla="val 50000"/>
                <a:gd name="adj2" fmla="val 0"/>
              </a:avLst>
            </a:prstGeom>
            <a:solidFill>
              <a:schemeClr val="bg1">
                <a:lumMod val="85000"/>
              </a:schemeClr>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47" name="TextBox 46">
              <a:extLst>
                <a:ext uri="{FF2B5EF4-FFF2-40B4-BE49-F238E27FC236}">
                  <a16:creationId xmlns:a16="http://schemas.microsoft.com/office/drawing/2014/main" id="{A00F4506-CE22-4655-8B21-8826BC6FA094}"/>
                </a:ext>
              </a:extLst>
            </p:cNvPr>
            <p:cNvSpPr txBox="1"/>
            <p:nvPr/>
          </p:nvSpPr>
          <p:spPr>
            <a:xfrm>
              <a:off x="4644738" y="4684463"/>
              <a:ext cx="441147"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1</a:t>
              </a:r>
              <a:endParaRPr lang="id-ID" b="1" dirty="0">
                <a:solidFill>
                  <a:schemeClr val="bg1"/>
                </a:solidFill>
                <a:latin typeface="Montserrat" panose="00000500000000000000" pitchFamily="50" charset="0"/>
              </a:endParaRPr>
            </a:p>
          </p:txBody>
        </p:sp>
        <p:sp>
          <p:nvSpPr>
            <p:cNvPr id="48" name="TextBox 47">
              <a:extLst>
                <a:ext uri="{FF2B5EF4-FFF2-40B4-BE49-F238E27FC236}">
                  <a16:creationId xmlns:a16="http://schemas.microsoft.com/office/drawing/2014/main" id="{518BC7B0-6D30-4829-B6FE-A4FD2737810A}"/>
                </a:ext>
              </a:extLst>
            </p:cNvPr>
            <p:cNvSpPr txBox="1"/>
            <p:nvPr/>
          </p:nvSpPr>
          <p:spPr>
            <a:xfrm>
              <a:off x="4187337" y="3585018"/>
              <a:ext cx="484428"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2</a:t>
              </a:r>
              <a:endParaRPr lang="id-ID" b="1" dirty="0">
                <a:solidFill>
                  <a:schemeClr val="bg1"/>
                </a:solidFill>
                <a:latin typeface="Montserrat" panose="00000500000000000000" pitchFamily="50" charset="0"/>
              </a:endParaRPr>
            </a:p>
          </p:txBody>
        </p:sp>
        <p:sp>
          <p:nvSpPr>
            <p:cNvPr id="49" name="TextBox 48">
              <a:extLst>
                <a:ext uri="{FF2B5EF4-FFF2-40B4-BE49-F238E27FC236}">
                  <a16:creationId xmlns:a16="http://schemas.microsoft.com/office/drawing/2014/main" id="{55D04A3F-B9E7-49DC-A87B-BAC6DC9F78B9}"/>
                </a:ext>
              </a:extLst>
            </p:cNvPr>
            <p:cNvSpPr txBox="1"/>
            <p:nvPr/>
          </p:nvSpPr>
          <p:spPr>
            <a:xfrm>
              <a:off x="4625545" y="2482530"/>
              <a:ext cx="474810"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3</a:t>
              </a:r>
              <a:endParaRPr lang="id-ID" b="1" dirty="0">
                <a:solidFill>
                  <a:schemeClr val="bg1"/>
                </a:solidFill>
                <a:latin typeface="Montserrat" panose="00000500000000000000" pitchFamily="50" charset="0"/>
              </a:endParaRPr>
            </a:p>
          </p:txBody>
        </p:sp>
        <p:sp>
          <p:nvSpPr>
            <p:cNvPr id="50" name="TextBox 49">
              <a:extLst>
                <a:ext uri="{FF2B5EF4-FFF2-40B4-BE49-F238E27FC236}">
                  <a16:creationId xmlns:a16="http://schemas.microsoft.com/office/drawing/2014/main" id="{6A895765-F03C-41C5-A0A0-EF9D353694E0}"/>
                </a:ext>
              </a:extLst>
            </p:cNvPr>
            <p:cNvSpPr txBox="1"/>
            <p:nvPr/>
          </p:nvSpPr>
          <p:spPr>
            <a:xfrm>
              <a:off x="7076173" y="2482530"/>
              <a:ext cx="492444"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4</a:t>
              </a:r>
              <a:endParaRPr lang="id-ID" b="1" dirty="0">
                <a:solidFill>
                  <a:schemeClr val="bg1"/>
                </a:solidFill>
                <a:latin typeface="Montserrat" panose="00000500000000000000" pitchFamily="50" charset="0"/>
              </a:endParaRPr>
            </a:p>
          </p:txBody>
        </p:sp>
        <p:sp>
          <p:nvSpPr>
            <p:cNvPr id="51" name="TextBox 50">
              <a:extLst>
                <a:ext uri="{FF2B5EF4-FFF2-40B4-BE49-F238E27FC236}">
                  <a16:creationId xmlns:a16="http://schemas.microsoft.com/office/drawing/2014/main" id="{80FB94B7-E4A0-4348-877E-2160A2E3F16B}"/>
                </a:ext>
              </a:extLst>
            </p:cNvPr>
            <p:cNvSpPr txBox="1"/>
            <p:nvPr/>
          </p:nvSpPr>
          <p:spPr>
            <a:xfrm>
              <a:off x="7076173" y="4684463"/>
              <a:ext cx="492444"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6</a:t>
              </a:r>
              <a:endParaRPr lang="id-ID" b="1" dirty="0">
                <a:solidFill>
                  <a:schemeClr val="bg1"/>
                </a:solidFill>
                <a:latin typeface="Montserrat" panose="00000500000000000000" pitchFamily="50" charset="0"/>
              </a:endParaRPr>
            </a:p>
          </p:txBody>
        </p:sp>
        <p:sp>
          <p:nvSpPr>
            <p:cNvPr id="52" name="TextBox 51">
              <a:extLst>
                <a:ext uri="{FF2B5EF4-FFF2-40B4-BE49-F238E27FC236}">
                  <a16:creationId xmlns:a16="http://schemas.microsoft.com/office/drawing/2014/main" id="{50A5A85C-D0F0-4326-A314-4AA403A34B65}"/>
                </a:ext>
              </a:extLst>
            </p:cNvPr>
            <p:cNvSpPr txBox="1"/>
            <p:nvPr/>
          </p:nvSpPr>
          <p:spPr>
            <a:xfrm>
              <a:off x="7491923" y="3585018"/>
              <a:ext cx="484428" cy="369332"/>
            </a:xfrm>
            <a:prstGeom prst="rect">
              <a:avLst/>
            </a:prstGeom>
            <a:noFill/>
          </p:spPr>
          <p:txBody>
            <a:bodyPr wrap="none" rtlCol="0" anchor="ctr">
              <a:spAutoFit/>
            </a:bodyPr>
            <a:lstStyle/>
            <a:p>
              <a:pPr algn="ctr"/>
              <a:r>
                <a:rPr lang="en-US" b="1" dirty="0">
                  <a:solidFill>
                    <a:schemeClr val="bg1"/>
                  </a:solidFill>
                  <a:latin typeface="Montserrat" panose="00000500000000000000" pitchFamily="50" charset="0"/>
                </a:rPr>
                <a:t>05</a:t>
              </a:r>
              <a:endParaRPr lang="id-ID" b="1" dirty="0">
                <a:solidFill>
                  <a:schemeClr val="bg1"/>
                </a:solidFill>
                <a:latin typeface="Montserrat" panose="00000500000000000000" pitchFamily="50" charset="0"/>
              </a:endParaRPr>
            </a:p>
          </p:txBody>
        </p:sp>
      </p:grpSp>
      <p:sp>
        <p:nvSpPr>
          <p:cNvPr id="53" name="TextBox 52">
            <a:extLst>
              <a:ext uri="{FF2B5EF4-FFF2-40B4-BE49-F238E27FC236}">
                <a16:creationId xmlns:a16="http://schemas.microsoft.com/office/drawing/2014/main" id="{F0E9CB81-75BF-46A1-980B-C3478AE52B91}"/>
              </a:ext>
            </a:extLst>
          </p:cNvPr>
          <p:cNvSpPr txBox="1"/>
          <p:nvPr/>
        </p:nvSpPr>
        <p:spPr>
          <a:xfrm flipH="1">
            <a:off x="9789" y="858458"/>
            <a:ext cx="2789816" cy="738664"/>
          </a:xfrm>
          <a:prstGeom prst="rect">
            <a:avLst/>
          </a:prstGeom>
          <a:noFill/>
        </p:spPr>
        <p:txBody>
          <a:bodyPr wrap="square" rtlCol="0">
            <a:spAutoFit/>
          </a:bodyPr>
          <a:lstStyle/>
          <a:p>
            <a:pPr algn="r"/>
            <a:r>
              <a:rPr lang="en-US" sz="1400" b="1" dirty="0">
                <a:solidFill>
                  <a:schemeClr val="bg1"/>
                </a:solidFill>
              </a:rPr>
              <a:t>How do we demonstrate the return on investment of our Cyber Security measures</a:t>
            </a:r>
          </a:p>
        </p:txBody>
      </p:sp>
      <p:sp>
        <p:nvSpPr>
          <p:cNvPr id="54" name="TextBox 53">
            <a:extLst>
              <a:ext uri="{FF2B5EF4-FFF2-40B4-BE49-F238E27FC236}">
                <a16:creationId xmlns:a16="http://schemas.microsoft.com/office/drawing/2014/main" id="{7B534542-68C3-4AC6-B4DC-EC9561D54FF0}"/>
              </a:ext>
            </a:extLst>
          </p:cNvPr>
          <p:cNvSpPr txBox="1"/>
          <p:nvPr/>
        </p:nvSpPr>
        <p:spPr>
          <a:xfrm flipH="1">
            <a:off x="473150" y="3402160"/>
            <a:ext cx="2322966" cy="738664"/>
          </a:xfrm>
          <a:prstGeom prst="rect">
            <a:avLst/>
          </a:prstGeom>
          <a:noFill/>
        </p:spPr>
        <p:txBody>
          <a:bodyPr wrap="square" rtlCol="0">
            <a:spAutoFit/>
          </a:bodyPr>
          <a:lstStyle/>
          <a:p>
            <a:pPr algn="r"/>
            <a:r>
              <a:rPr lang="en-US" sz="1400" b="1" dirty="0">
                <a:solidFill>
                  <a:schemeClr val="bg1"/>
                </a:solidFill>
              </a:rPr>
              <a:t>How do we move from reactive to anticipating Cyber Attacks</a:t>
            </a:r>
          </a:p>
        </p:txBody>
      </p:sp>
      <p:sp>
        <p:nvSpPr>
          <p:cNvPr id="55" name="TextBox 54">
            <a:extLst>
              <a:ext uri="{FF2B5EF4-FFF2-40B4-BE49-F238E27FC236}">
                <a16:creationId xmlns:a16="http://schemas.microsoft.com/office/drawing/2014/main" id="{B77E9768-9B74-4A84-8216-82D91B78D532}"/>
              </a:ext>
            </a:extLst>
          </p:cNvPr>
          <p:cNvSpPr txBox="1"/>
          <p:nvPr/>
        </p:nvSpPr>
        <p:spPr>
          <a:xfrm flipH="1">
            <a:off x="6517182" y="956426"/>
            <a:ext cx="2789817" cy="523220"/>
          </a:xfrm>
          <a:prstGeom prst="rect">
            <a:avLst/>
          </a:prstGeom>
          <a:noFill/>
        </p:spPr>
        <p:txBody>
          <a:bodyPr wrap="square" rtlCol="0">
            <a:spAutoFit/>
          </a:bodyPr>
          <a:lstStyle/>
          <a:p>
            <a:r>
              <a:rPr lang="en-US" sz="1400" b="1" dirty="0">
                <a:solidFill>
                  <a:schemeClr val="bg1"/>
                </a:solidFill>
              </a:rPr>
              <a:t>When was the Cyber threat last examined by the Board </a:t>
            </a:r>
          </a:p>
        </p:txBody>
      </p:sp>
      <p:sp>
        <p:nvSpPr>
          <p:cNvPr id="56" name="TextBox 55">
            <a:extLst>
              <a:ext uri="{FF2B5EF4-FFF2-40B4-BE49-F238E27FC236}">
                <a16:creationId xmlns:a16="http://schemas.microsoft.com/office/drawing/2014/main" id="{6D0C6D0A-FF9D-462F-A0EA-790F173D378C}"/>
              </a:ext>
            </a:extLst>
          </p:cNvPr>
          <p:cNvSpPr txBox="1"/>
          <p:nvPr/>
        </p:nvSpPr>
        <p:spPr>
          <a:xfrm flipH="1">
            <a:off x="309412" y="2260668"/>
            <a:ext cx="1865750" cy="954107"/>
          </a:xfrm>
          <a:prstGeom prst="rect">
            <a:avLst/>
          </a:prstGeom>
          <a:noFill/>
        </p:spPr>
        <p:txBody>
          <a:bodyPr wrap="square" rtlCol="0">
            <a:spAutoFit/>
          </a:bodyPr>
          <a:lstStyle/>
          <a:p>
            <a:pPr algn="r"/>
            <a:r>
              <a:rPr lang="en-US" sz="1400" b="1" dirty="0">
                <a:solidFill>
                  <a:schemeClr val="bg1"/>
                </a:solidFill>
              </a:rPr>
              <a:t>How do we put the Cyber threats we face into business context</a:t>
            </a:r>
          </a:p>
        </p:txBody>
      </p:sp>
      <p:sp>
        <p:nvSpPr>
          <p:cNvPr id="57" name="TextBox 56">
            <a:extLst>
              <a:ext uri="{FF2B5EF4-FFF2-40B4-BE49-F238E27FC236}">
                <a16:creationId xmlns:a16="http://schemas.microsoft.com/office/drawing/2014/main" id="{349285D4-43EC-4469-93C3-73ACC6A489AC}"/>
              </a:ext>
            </a:extLst>
          </p:cNvPr>
          <p:cNvSpPr txBox="1"/>
          <p:nvPr/>
        </p:nvSpPr>
        <p:spPr>
          <a:xfrm flipH="1">
            <a:off x="7070849" y="2269585"/>
            <a:ext cx="1865750" cy="646331"/>
          </a:xfrm>
          <a:prstGeom prst="rect">
            <a:avLst/>
          </a:prstGeom>
          <a:noFill/>
        </p:spPr>
        <p:txBody>
          <a:bodyPr wrap="square" rtlCol="0">
            <a:spAutoFit/>
          </a:bodyPr>
          <a:lstStyle/>
          <a:p>
            <a:r>
              <a:rPr lang="en-US" sz="1200" b="1" dirty="0">
                <a:solidFill>
                  <a:schemeClr val="bg1"/>
                </a:solidFill>
              </a:rPr>
              <a:t>Is Cyber part of the Boards Strategy discussion</a:t>
            </a:r>
          </a:p>
        </p:txBody>
      </p:sp>
      <p:sp>
        <p:nvSpPr>
          <p:cNvPr id="59" name="TextBox 58">
            <a:extLst>
              <a:ext uri="{FF2B5EF4-FFF2-40B4-BE49-F238E27FC236}">
                <a16:creationId xmlns:a16="http://schemas.microsoft.com/office/drawing/2014/main" id="{027EE299-F6F0-4CCA-9100-64C5E78056B2}"/>
              </a:ext>
            </a:extLst>
          </p:cNvPr>
          <p:cNvSpPr txBox="1"/>
          <p:nvPr/>
        </p:nvSpPr>
        <p:spPr>
          <a:xfrm flipH="1">
            <a:off x="6598055" y="3342586"/>
            <a:ext cx="2072795" cy="1169551"/>
          </a:xfrm>
          <a:prstGeom prst="rect">
            <a:avLst/>
          </a:prstGeom>
          <a:noFill/>
        </p:spPr>
        <p:txBody>
          <a:bodyPr wrap="square" rtlCol="0">
            <a:spAutoFit/>
          </a:bodyPr>
          <a:lstStyle/>
          <a:p>
            <a:r>
              <a:rPr lang="en-US" sz="1400" b="1" dirty="0">
                <a:solidFill>
                  <a:schemeClr val="bg1"/>
                </a:solidFill>
              </a:rPr>
              <a:t>Does our CIO know when to act and are they empowered to do so? Has it been effective?</a:t>
            </a:r>
          </a:p>
        </p:txBody>
      </p:sp>
      <p:cxnSp>
        <p:nvCxnSpPr>
          <p:cNvPr id="60" name="Straight Connector 59">
            <a:extLst>
              <a:ext uri="{FF2B5EF4-FFF2-40B4-BE49-F238E27FC236}">
                <a16:creationId xmlns:a16="http://schemas.microsoft.com/office/drawing/2014/main" id="{6DE0A976-DE09-405A-A36E-EE7F4A61444C}"/>
              </a:ext>
            </a:extLst>
          </p:cNvPr>
          <p:cNvCxnSpPr>
            <a:cxnSpLocks/>
          </p:cNvCxnSpPr>
          <p:nvPr/>
        </p:nvCxnSpPr>
        <p:spPr>
          <a:xfrm>
            <a:off x="4435548" y="-428671"/>
            <a:ext cx="609600" cy="0"/>
          </a:xfrm>
          <a:prstGeom prst="line">
            <a:avLst/>
          </a:prstGeom>
          <a:ln w="444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277B834-C487-4E75-B97D-EAD1FA7FCAAC}"/>
              </a:ext>
            </a:extLst>
          </p:cNvPr>
          <p:cNvSpPr txBox="1">
            <a:spLocks/>
          </p:cNvSpPr>
          <p:nvPr/>
        </p:nvSpPr>
        <p:spPr>
          <a:xfrm>
            <a:off x="1" y="69090"/>
            <a:ext cx="9126522" cy="595313"/>
          </a:xfrm>
          <a:prstGeom prst="rect">
            <a:avLst/>
          </a:prstGeom>
        </p:spPr>
        <p:txBody>
          <a:bodyPr anchor="ctr"/>
          <a:lstStyle>
            <a:lvl1pPr algn="l" defTabSz="914400" rtl="0" eaLnBrk="1" latinLnBrk="0" hangingPunct="1">
              <a:lnSpc>
                <a:spcPct val="120000"/>
              </a:lnSpc>
              <a:spcBef>
                <a:spcPts val="200"/>
              </a:spcBef>
              <a:spcAft>
                <a:spcPts val="200"/>
              </a:spcAft>
              <a:buNone/>
              <a:defRPr sz="2000" b="1" kern="1200" baseline="0">
                <a:solidFill>
                  <a:srgbClr val="455565"/>
                </a:solidFill>
                <a:latin typeface="Arial"/>
                <a:ea typeface="+mj-ea"/>
                <a:cs typeface="Arial"/>
              </a:defRPr>
            </a:lvl1pPr>
          </a:lstStyle>
          <a:p>
            <a:pPr algn="ctr" fontAlgn="auto"/>
            <a:r>
              <a:rPr lang="en-US" sz="2200" dirty="0">
                <a:solidFill>
                  <a:srgbClr val="FF0000"/>
                </a:solidFill>
              </a:rPr>
              <a:t>Board</a:t>
            </a:r>
            <a:r>
              <a:rPr lang="en-US" sz="2200" dirty="0">
                <a:solidFill>
                  <a:schemeClr val="bg1"/>
                </a:solidFill>
              </a:rPr>
              <a:t> Level Awareness</a:t>
            </a:r>
          </a:p>
        </p:txBody>
      </p:sp>
    </p:spTree>
    <p:extLst>
      <p:ext uri="{BB962C8B-B14F-4D97-AF65-F5344CB8AC3E}">
        <p14:creationId xmlns:p14="http://schemas.microsoft.com/office/powerpoint/2010/main" val="154599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750" fill="hold"/>
                                        <p:tgtEl>
                                          <p:spTgt spid="60"/>
                                        </p:tgtEl>
                                        <p:attrNameLst>
                                          <p:attrName>ppt_x</p:attrName>
                                        </p:attrNameLst>
                                      </p:cBhvr>
                                      <p:tavLst>
                                        <p:tav tm="0">
                                          <p:val>
                                            <p:strVal val="#ppt_x"/>
                                          </p:val>
                                        </p:tav>
                                        <p:tav tm="100000">
                                          <p:val>
                                            <p:strVal val="#ppt_x"/>
                                          </p:val>
                                        </p:tav>
                                      </p:tavLst>
                                    </p:anim>
                                    <p:anim calcmode="lin" valueType="num">
                                      <p:cBhvr additive="base">
                                        <p:cTn id="8" dur="750" fill="hold"/>
                                        <p:tgtEl>
                                          <p:spTgt spid="60"/>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 presetClass="entr" presetSubtype="4" decel="100000" fill="hold" nodeType="after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additive="base">
                                        <p:cTn id="12" dur="750" fill="hold"/>
                                        <p:tgtEl>
                                          <p:spTgt spid="33"/>
                                        </p:tgtEl>
                                        <p:attrNameLst>
                                          <p:attrName>ppt_x</p:attrName>
                                        </p:attrNameLst>
                                      </p:cBhvr>
                                      <p:tavLst>
                                        <p:tav tm="0">
                                          <p:val>
                                            <p:strVal val="#ppt_x"/>
                                          </p:val>
                                        </p:tav>
                                        <p:tav tm="100000">
                                          <p:val>
                                            <p:strVal val="#ppt_x"/>
                                          </p:val>
                                        </p:tav>
                                      </p:tavLst>
                                    </p:anim>
                                    <p:anim calcmode="lin" valueType="num">
                                      <p:cBhvr additive="base">
                                        <p:cTn id="13" dur="750" fill="hold"/>
                                        <p:tgtEl>
                                          <p:spTgt spid="33"/>
                                        </p:tgtEl>
                                        <p:attrNameLst>
                                          <p:attrName>ppt_y</p:attrName>
                                        </p:attrNameLst>
                                      </p:cBhvr>
                                      <p:tavLst>
                                        <p:tav tm="0">
                                          <p:val>
                                            <p:strVal val="1+#ppt_h/2"/>
                                          </p:val>
                                        </p:tav>
                                        <p:tav tm="100000">
                                          <p:val>
                                            <p:strVal val="#ppt_y"/>
                                          </p:val>
                                        </p:tav>
                                      </p:tavLst>
                                    </p:anim>
                                  </p:childTnLst>
                                </p:cTn>
                              </p:par>
                              <p:par>
                                <p:cTn id="14" presetID="2" presetClass="entr" presetSubtype="4" decel="100000" fill="hold" nodeType="withEffect">
                                  <p:stCondLst>
                                    <p:cond delay="250"/>
                                  </p:stCondLst>
                                  <p:childTnLst>
                                    <p:set>
                                      <p:cBhvr>
                                        <p:cTn id="15" dur="1" fill="hold">
                                          <p:stCondLst>
                                            <p:cond delay="0"/>
                                          </p:stCondLst>
                                        </p:cTn>
                                        <p:tgtEl>
                                          <p:spTgt spid="40"/>
                                        </p:tgtEl>
                                        <p:attrNameLst>
                                          <p:attrName>style.visibility</p:attrName>
                                        </p:attrNameLst>
                                      </p:cBhvr>
                                      <p:to>
                                        <p:strVal val="visible"/>
                                      </p:to>
                                    </p:set>
                                    <p:anim calcmode="lin" valueType="num">
                                      <p:cBhvr additive="base">
                                        <p:cTn id="16" dur="750" fill="hold"/>
                                        <p:tgtEl>
                                          <p:spTgt spid="40"/>
                                        </p:tgtEl>
                                        <p:attrNameLst>
                                          <p:attrName>ppt_x</p:attrName>
                                        </p:attrNameLst>
                                      </p:cBhvr>
                                      <p:tavLst>
                                        <p:tav tm="0">
                                          <p:val>
                                            <p:strVal val="#ppt_x"/>
                                          </p:val>
                                        </p:tav>
                                        <p:tav tm="100000">
                                          <p:val>
                                            <p:strVal val="#ppt_x"/>
                                          </p:val>
                                        </p:tav>
                                      </p:tavLst>
                                    </p:anim>
                                    <p:anim calcmode="lin" valueType="num">
                                      <p:cBhvr additive="base">
                                        <p:cTn id="17" dur="750" fill="hold"/>
                                        <p:tgtEl>
                                          <p:spTgt spid="40"/>
                                        </p:tgtEl>
                                        <p:attrNameLst>
                                          <p:attrName>ppt_y</p:attrName>
                                        </p:attrNameLst>
                                      </p:cBhvr>
                                      <p:tavLst>
                                        <p:tav tm="0">
                                          <p:val>
                                            <p:strVal val="1+#ppt_h/2"/>
                                          </p:val>
                                        </p:tav>
                                        <p:tav tm="100000">
                                          <p:val>
                                            <p:strVal val="#ppt_y"/>
                                          </p:val>
                                        </p:tav>
                                      </p:tavLst>
                                    </p:anim>
                                  </p:childTnLst>
                                </p:cTn>
                              </p:par>
                              <p:par>
                                <p:cTn id="18" presetID="49" presetClass="entr" presetSubtype="0" decel="100000" fill="hold" nodeType="withEffect">
                                  <p:stCondLst>
                                    <p:cond delay="250"/>
                                  </p:stCondLst>
                                  <p:childTnLst>
                                    <p:set>
                                      <p:cBhvr>
                                        <p:cTn id="19" dur="1" fill="hold">
                                          <p:stCondLst>
                                            <p:cond delay="0"/>
                                          </p:stCondLst>
                                        </p:cTn>
                                        <p:tgtEl>
                                          <p:spTgt spid="40"/>
                                        </p:tgtEl>
                                        <p:attrNameLst>
                                          <p:attrName>style.visibility</p:attrName>
                                        </p:attrNameLst>
                                      </p:cBhvr>
                                      <p:to>
                                        <p:strVal val="visible"/>
                                      </p:to>
                                    </p:set>
                                    <p:anim calcmode="lin" valueType="num">
                                      <p:cBhvr>
                                        <p:cTn id="20" dur="750" fill="hold"/>
                                        <p:tgtEl>
                                          <p:spTgt spid="40"/>
                                        </p:tgtEl>
                                        <p:attrNameLst>
                                          <p:attrName>ppt_w</p:attrName>
                                        </p:attrNameLst>
                                      </p:cBhvr>
                                      <p:tavLst>
                                        <p:tav tm="0">
                                          <p:val>
                                            <p:fltVal val="0"/>
                                          </p:val>
                                        </p:tav>
                                        <p:tav tm="100000">
                                          <p:val>
                                            <p:strVal val="#ppt_w"/>
                                          </p:val>
                                        </p:tav>
                                      </p:tavLst>
                                    </p:anim>
                                    <p:anim calcmode="lin" valueType="num">
                                      <p:cBhvr>
                                        <p:cTn id="21" dur="750" fill="hold"/>
                                        <p:tgtEl>
                                          <p:spTgt spid="40"/>
                                        </p:tgtEl>
                                        <p:attrNameLst>
                                          <p:attrName>ppt_h</p:attrName>
                                        </p:attrNameLst>
                                      </p:cBhvr>
                                      <p:tavLst>
                                        <p:tav tm="0">
                                          <p:val>
                                            <p:fltVal val="0"/>
                                          </p:val>
                                        </p:tav>
                                        <p:tav tm="100000">
                                          <p:val>
                                            <p:strVal val="#ppt_h"/>
                                          </p:val>
                                        </p:tav>
                                      </p:tavLst>
                                    </p:anim>
                                    <p:anim calcmode="lin" valueType="num">
                                      <p:cBhvr>
                                        <p:cTn id="22" dur="750" fill="hold"/>
                                        <p:tgtEl>
                                          <p:spTgt spid="40"/>
                                        </p:tgtEl>
                                        <p:attrNameLst>
                                          <p:attrName>style.rotation</p:attrName>
                                        </p:attrNameLst>
                                      </p:cBhvr>
                                      <p:tavLst>
                                        <p:tav tm="0">
                                          <p:val>
                                            <p:fltVal val="360"/>
                                          </p:val>
                                        </p:tav>
                                        <p:tav tm="100000">
                                          <p:val>
                                            <p:fltVal val="0"/>
                                          </p:val>
                                        </p:tav>
                                      </p:tavLst>
                                    </p:anim>
                                    <p:animEffect transition="in" filter="fade">
                                      <p:cBhvr>
                                        <p:cTn id="23" dur="7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142E16-B292-314B-A046-32D38BA3953A}"/>
              </a:ext>
            </a:extLst>
          </p:cNvPr>
          <p:cNvSpPr txBox="1">
            <a:spLocks/>
          </p:cNvSpPr>
          <p:nvPr/>
        </p:nvSpPr>
        <p:spPr>
          <a:xfrm>
            <a:off x="0" y="170278"/>
            <a:ext cx="6411720" cy="625335"/>
          </a:xfrm>
          <a:prstGeom prst="rect">
            <a:avLst/>
          </a:prstGeom>
        </p:spPr>
        <p:txBody>
          <a:bodyPr anchor="ctr"/>
          <a:lstStyle>
            <a:lvl1pPr algn="l" defTabSz="914400" rtl="0" eaLnBrk="1" latinLnBrk="0" hangingPunct="1">
              <a:lnSpc>
                <a:spcPct val="120000"/>
              </a:lnSpc>
              <a:spcBef>
                <a:spcPts val="200"/>
              </a:spcBef>
              <a:spcAft>
                <a:spcPts val="200"/>
              </a:spcAft>
              <a:buNone/>
              <a:defRPr sz="2000" b="1" kern="1200" baseline="0">
                <a:solidFill>
                  <a:srgbClr val="FFFFFF"/>
                </a:solidFill>
                <a:latin typeface="+mj-lt"/>
                <a:ea typeface="+mj-ea"/>
                <a:cs typeface="+mj-cs"/>
              </a:defRPr>
            </a:lvl1pPr>
          </a:lstStyle>
          <a:p>
            <a:pPr marL="0" marR="0" lvl="0" indent="0" algn="ctr" defTabSz="914400" rtl="0" eaLnBrk="1" fontAlgn="base" latinLnBrk="0" hangingPunct="1">
              <a:lnSpc>
                <a:spcPct val="120000"/>
              </a:lnSpc>
              <a:spcBef>
                <a:spcPts val="200"/>
              </a:spcBef>
              <a:spcAft>
                <a:spcPts val="20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mj-lt"/>
              <a:ea typeface="+mj-ea"/>
              <a:cs typeface="+mj-cs"/>
            </a:endParaRPr>
          </a:p>
          <a:p>
            <a:pPr marL="0" marR="0" lvl="0" indent="0" algn="ctr" defTabSz="914400" rtl="0" eaLnBrk="1" fontAlgn="base" latinLnBrk="0" hangingPunct="1">
              <a:lnSpc>
                <a:spcPct val="120000"/>
              </a:lnSpc>
              <a:spcBef>
                <a:spcPts val="200"/>
              </a:spcBef>
              <a:spcAft>
                <a:spcPts val="200"/>
              </a:spcAft>
              <a:buClrTx/>
              <a:buSzTx/>
              <a:buFontTx/>
              <a:buNone/>
              <a:tabLst/>
              <a:defRPr/>
            </a:pPr>
            <a:r>
              <a:rPr kumimoji="0" lang="en-US" sz="3200" b="1" i="0" u="none" strike="noStrike" kern="1200" cap="none" spc="0" normalizeH="0" baseline="0" noProof="0">
                <a:ln>
                  <a:noFill/>
                </a:ln>
                <a:solidFill>
                  <a:prstClr val="white"/>
                </a:solidFill>
                <a:effectLst/>
                <a:uLnTx/>
                <a:uFillTx/>
                <a:latin typeface="+mj-lt"/>
                <a:ea typeface="+mj-ea"/>
                <a:cs typeface="+mj-cs"/>
              </a:rPr>
              <a:t> </a:t>
            </a:r>
          </a:p>
        </p:txBody>
      </p:sp>
      <p:sp>
        <p:nvSpPr>
          <p:cNvPr id="2" name="Title 1">
            <a:extLst>
              <a:ext uri="{FF2B5EF4-FFF2-40B4-BE49-F238E27FC236}">
                <a16:creationId xmlns:a16="http://schemas.microsoft.com/office/drawing/2014/main" id="{2277B834-C487-4E75-B97D-EAD1FA7FCAAC}"/>
              </a:ext>
            </a:extLst>
          </p:cNvPr>
          <p:cNvSpPr txBox="1">
            <a:spLocks/>
          </p:cNvSpPr>
          <p:nvPr/>
        </p:nvSpPr>
        <p:spPr>
          <a:xfrm>
            <a:off x="132295" y="-21147"/>
            <a:ext cx="9126522" cy="595313"/>
          </a:xfrm>
          <a:prstGeom prst="rect">
            <a:avLst/>
          </a:prstGeom>
        </p:spPr>
        <p:txBody>
          <a:bodyPr anchor="ctr"/>
          <a:lstStyle>
            <a:lvl1pPr algn="l" defTabSz="914400" rtl="0" eaLnBrk="1" latinLnBrk="0" hangingPunct="1">
              <a:lnSpc>
                <a:spcPct val="120000"/>
              </a:lnSpc>
              <a:spcBef>
                <a:spcPts val="200"/>
              </a:spcBef>
              <a:spcAft>
                <a:spcPts val="200"/>
              </a:spcAft>
              <a:buNone/>
              <a:defRPr sz="2000" b="1" kern="1200" baseline="0">
                <a:solidFill>
                  <a:srgbClr val="455565"/>
                </a:solidFill>
                <a:latin typeface="Arial"/>
                <a:ea typeface="+mj-ea"/>
                <a:cs typeface="Arial"/>
              </a:defRPr>
            </a:lvl1pPr>
          </a:lstStyle>
          <a:p>
            <a:pPr algn="ctr" fontAlgn="auto"/>
            <a:r>
              <a:rPr lang="en-US" sz="2200" dirty="0">
                <a:solidFill>
                  <a:srgbClr val="FF0000"/>
                </a:solidFill>
              </a:rPr>
              <a:t>Boardroom</a:t>
            </a:r>
            <a:r>
              <a:rPr lang="en-US" sz="2200" dirty="0">
                <a:solidFill>
                  <a:schemeClr val="bg1"/>
                </a:solidFill>
              </a:rPr>
              <a:t> Questions</a:t>
            </a:r>
          </a:p>
        </p:txBody>
      </p:sp>
      <p:grpSp>
        <p:nvGrpSpPr>
          <p:cNvPr id="32" name="Group 31">
            <a:extLst>
              <a:ext uri="{FF2B5EF4-FFF2-40B4-BE49-F238E27FC236}">
                <a16:creationId xmlns:a16="http://schemas.microsoft.com/office/drawing/2014/main" id="{772A80EC-71E9-4EF0-8F64-84E99787D729}"/>
              </a:ext>
            </a:extLst>
          </p:cNvPr>
          <p:cNvGrpSpPr/>
          <p:nvPr/>
        </p:nvGrpSpPr>
        <p:grpSpPr>
          <a:xfrm>
            <a:off x="2732781" y="937148"/>
            <a:ext cx="3804916" cy="3804916"/>
            <a:chOff x="4193542" y="2182930"/>
            <a:chExt cx="3804916" cy="3804916"/>
          </a:xfrm>
        </p:grpSpPr>
        <p:grpSp>
          <p:nvGrpSpPr>
            <p:cNvPr id="58" name="Group 57">
              <a:extLst>
                <a:ext uri="{FF2B5EF4-FFF2-40B4-BE49-F238E27FC236}">
                  <a16:creationId xmlns:a16="http://schemas.microsoft.com/office/drawing/2014/main" id="{C876B535-9203-44E1-B904-B098888904E0}"/>
                </a:ext>
              </a:extLst>
            </p:cNvPr>
            <p:cNvGrpSpPr/>
            <p:nvPr/>
          </p:nvGrpSpPr>
          <p:grpSpPr>
            <a:xfrm>
              <a:off x="4193542" y="2182930"/>
              <a:ext cx="3804916" cy="3804916"/>
              <a:chOff x="3982760" y="1780212"/>
              <a:chExt cx="4226479" cy="4226479"/>
            </a:xfrm>
          </p:grpSpPr>
          <p:grpSp>
            <p:nvGrpSpPr>
              <p:cNvPr id="85" name="Group 84">
                <a:extLst>
                  <a:ext uri="{FF2B5EF4-FFF2-40B4-BE49-F238E27FC236}">
                    <a16:creationId xmlns:a16="http://schemas.microsoft.com/office/drawing/2014/main" id="{3E4F517E-C7E5-4496-80AB-4FB43F829D32}"/>
                  </a:ext>
                </a:extLst>
              </p:cNvPr>
              <p:cNvGrpSpPr/>
              <p:nvPr/>
            </p:nvGrpSpPr>
            <p:grpSpPr>
              <a:xfrm>
                <a:off x="3982760" y="1780212"/>
                <a:ext cx="4226479" cy="4226479"/>
                <a:chOff x="3764186" y="1780212"/>
                <a:chExt cx="4486548" cy="4486548"/>
              </a:xfrm>
              <a:gradFill>
                <a:gsLst>
                  <a:gs pos="0">
                    <a:schemeClr val="accent2"/>
                  </a:gs>
                  <a:gs pos="100000">
                    <a:schemeClr val="accent1"/>
                  </a:gs>
                </a:gsLst>
                <a:lin ang="13500000" scaled="1"/>
              </a:gradFill>
            </p:grpSpPr>
            <p:sp>
              <p:nvSpPr>
                <p:cNvPr id="91" name="Freeform 192">
                  <a:extLst>
                    <a:ext uri="{FF2B5EF4-FFF2-40B4-BE49-F238E27FC236}">
                      <a16:creationId xmlns:a16="http://schemas.microsoft.com/office/drawing/2014/main" id="{1D3B256E-8DFF-4DD0-B1A6-67FB840221E7}"/>
                    </a:ext>
                  </a:extLst>
                </p:cNvPr>
                <p:cNvSpPr>
                  <a:spLocks/>
                </p:cNvSpPr>
                <p:nvPr/>
              </p:nvSpPr>
              <p:spPr bwMode="auto">
                <a:xfrm>
                  <a:off x="6058262" y="1780212"/>
                  <a:ext cx="1499387" cy="1620586"/>
                </a:xfrm>
                <a:custGeom>
                  <a:avLst/>
                  <a:gdLst>
                    <a:gd name="T0" fmla="*/ 0 w 1264"/>
                    <a:gd name="T1" fmla="*/ 1119 h 1367"/>
                    <a:gd name="T2" fmla="*/ 26 w 1264"/>
                    <a:gd name="T3" fmla="*/ 1121 h 1367"/>
                    <a:gd name="T4" fmla="*/ 183 w 1264"/>
                    <a:gd name="T5" fmla="*/ 1152 h 1367"/>
                    <a:gd name="T6" fmla="*/ 155 w 1264"/>
                    <a:gd name="T7" fmla="*/ 1175 h 1367"/>
                    <a:gd name="T8" fmla="*/ 131 w 1264"/>
                    <a:gd name="T9" fmla="*/ 1204 h 1367"/>
                    <a:gd name="T10" fmla="*/ 126 w 1264"/>
                    <a:gd name="T11" fmla="*/ 1215 h 1367"/>
                    <a:gd name="T12" fmla="*/ 126 w 1264"/>
                    <a:gd name="T13" fmla="*/ 1294 h 1367"/>
                    <a:gd name="T14" fmla="*/ 135 w 1264"/>
                    <a:gd name="T15" fmla="*/ 1312 h 1367"/>
                    <a:gd name="T16" fmla="*/ 182 w 1264"/>
                    <a:gd name="T17" fmla="*/ 1350 h 1367"/>
                    <a:gd name="T18" fmla="*/ 300 w 1264"/>
                    <a:gd name="T19" fmla="*/ 1321 h 1367"/>
                    <a:gd name="T20" fmla="*/ 306 w 1264"/>
                    <a:gd name="T21" fmla="*/ 1312 h 1367"/>
                    <a:gd name="T22" fmla="*/ 317 w 1264"/>
                    <a:gd name="T23" fmla="*/ 1294 h 1367"/>
                    <a:gd name="T24" fmla="*/ 322 w 1264"/>
                    <a:gd name="T25" fmla="*/ 1277 h 1367"/>
                    <a:gd name="T26" fmla="*/ 324 w 1264"/>
                    <a:gd name="T27" fmla="*/ 1260 h 1367"/>
                    <a:gd name="T28" fmla="*/ 324 w 1264"/>
                    <a:gd name="T29" fmla="*/ 1245 h 1367"/>
                    <a:gd name="T30" fmla="*/ 321 w 1264"/>
                    <a:gd name="T31" fmla="*/ 1209 h 1367"/>
                    <a:gd name="T32" fmla="*/ 454 w 1264"/>
                    <a:gd name="T33" fmla="*/ 1298 h 1367"/>
                    <a:gd name="T34" fmla="*/ 473 w 1264"/>
                    <a:gd name="T35" fmla="*/ 1315 h 1367"/>
                    <a:gd name="T36" fmla="*/ 1264 w 1264"/>
                    <a:gd name="T37" fmla="*/ 524 h 1367"/>
                    <a:gd name="T38" fmla="*/ 1246 w 1264"/>
                    <a:gd name="T39" fmla="*/ 506 h 1367"/>
                    <a:gd name="T40" fmla="*/ 26 w 1264"/>
                    <a:gd name="T41" fmla="*/ 1 h 1367"/>
                    <a:gd name="T42" fmla="*/ 0 w 1264"/>
                    <a:gd name="T43" fmla="*/ 0 h 1367"/>
                    <a:gd name="T44" fmla="*/ 0 w 1264"/>
                    <a:gd name="T45" fmla="*/ 1119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64" h="1367">
                      <a:moveTo>
                        <a:pt x="0" y="1119"/>
                      </a:moveTo>
                      <a:cubicBezTo>
                        <a:pt x="9" y="1120"/>
                        <a:pt x="17" y="1120"/>
                        <a:pt x="26" y="1121"/>
                      </a:cubicBezTo>
                      <a:cubicBezTo>
                        <a:pt x="78" y="1126"/>
                        <a:pt x="131" y="1136"/>
                        <a:pt x="183" y="1152"/>
                      </a:cubicBezTo>
                      <a:cubicBezTo>
                        <a:pt x="155" y="1175"/>
                        <a:pt x="155" y="1175"/>
                        <a:pt x="155" y="1175"/>
                      </a:cubicBezTo>
                      <a:cubicBezTo>
                        <a:pt x="145" y="1183"/>
                        <a:pt x="137" y="1193"/>
                        <a:pt x="131" y="1204"/>
                      </a:cubicBezTo>
                      <a:cubicBezTo>
                        <a:pt x="129" y="1207"/>
                        <a:pt x="127" y="1211"/>
                        <a:pt x="126" y="1215"/>
                      </a:cubicBezTo>
                      <a:cubicBezTo>
                        <a:pt x="115" y="1240"/>
                        <a:pt x="115" y="1268"/>
                        <a:pt x="126" y="1294"/>
                      </a:cubicBezTo>
                      <a:cubicBezTo>
                        <a:pt x="128" y="1300"/>
                        <a:pt x="132" y="1306"/>
                        <a:pt x="135" y="1312"/>
                      </a:cubicBezTo>
                      <a:cubicBezTo>
                        <a:pt x="147" y="1328"/>
                        <a:pt x="163" y="1342"/>
                        <a:pt x="182" y="1350"/>
                      </a:cubicBezTo>
                      <a:cubicBezTo>
                        <a:pt x="223" y="1367"/>
                        <a:pt x="271" y="1355"/>
                        <a:pt x="300" y="1321"/>
                      </a:cubicBezTo>
                      <a:cubicBezTo>
                        <a:pt x="302" y="1318"/>
                        <a:pt x="304" y="1315"/>
                        <a:pt x="306" y="1312"/>
                      </a:cubicBezTo>
                      <a:cubicBezTo>
                        <a:pt x="310" y="1306"/>
                        <a:pt x="314" y="1300"/>
                        <a:pt x="317" y="1294"/>
                      </a:cubicBezTo>
                      <a:cubicBezTo>
                        <a:pt x="319" y="1288"/>
                        <a:pt x="320" y="1283"/>
                        <a:pt x="322" y="1277"/>
                      </a:cubicBezTo>
                      <a:cubicBezTo>
                        <a:pt x="323" y="1272"/>
                        <a:pt x="324" y="1266"/>
                        <a:pt x="324" y="1260"/>
                      </a:cubicBezTo>
                      <a:cubicBezTo>
                        <a:pt x="324" y="1255"/>
                        <a:pt x="325" y="1250"/>
                        <a:pt x="324" y="1245"/>
                      </a:cubicBezTo>
                      <a:cubicBezTo>
                        <a:pt x="321" y="1209"/>
                        <a:pt x="321" y="1209"/>
                        <a:pt x="321" y="1209"/>
                      </a:cubicBezTo>
                      <a:cubicBezTo>
                        <a:pt x="369" y="1234"/>
                        <a:pt x="413" y="1264"/>
                        <a:pt x="454" y="1298"/>
                      </a:cubicBezTo>
                      <a:cubicBezTo>
                        <a:pt x="460" y="1304"/>
                        <a:pt x="467" y="1309"/>
                        <a:pt x="473" y="1315"/>
                      </a:cubicBezTo>
                      <a:cubicBezTo>
                        <a:pt x="1264" y="524"/>
                        <a:pt x="1264" y="524"/>
                        <a:pt x="1264" y="524"/>
                      </a:cubicBezTo>
                      <a:cubicBezTo>
                        <a:pt x="1258" y="518"/>
                        <a:pt x="1252" y="512"/>
                        <a:pt x="1246" y="506"/>
                      </a:cubicBezTo>
                      <a:cubicBezTo>
                        <a:pt x="923" y="206"/>
                        <a:pt x="496" y="18"/>
                        <a:pt x="26" y="1"/>
                      </a:cubicBezTo>
                      <a:cubicBezTo>
                        <a:pt x="17" y="1"/>
                        <a:pt x="9" y="1"/>
                        <a:pt x="0" y="0"/>
                      </a:cubicBezTo>
                      <a:cubicBezTo>
                        <a:pt x="0" y="1119"/>
                        <a:pt x="0" y="1119"/>
                        <a:pt x="0" y="11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12">
                  <a:extLst>
                    <a:ext uri="{FF2B5EF4-FFF2-40B4-BE49-F238E27FC236}">
                      <a16:creationId xmlns:a16="http://schemas.microsoft.com/office/drawing/2014/main" id="{64358664-E278-49B7-9FDF-409A580924C1}"/>
                    </a:ext>
                  </a:extLst>
                </p:cNvPr>
                <p:cNvSpPr>
                  <a:spLocks/>
                </p:cNvSpPr>
                <p:nvPr/>
              </p:nvSpPr>
              <p:spPr bwMode="auto">
                <a:xfrm>
                  <a:off x="6078583" y="1801259"/>
                  <a:ext cx="1450036" cy="1567607"/>
                </a:xfrm>
                <a:custGeom>
                  <a:avLst/>
                  <a:gdLst>
                    <a:gd name="T0" fmla="*/ 0 w 1223"/>
                    <a:gd name="T1" fmla="*/ 0 h 1322"/>
                    <a:gd name="T2" fmla="*/ 0 w 1223"/>
                    <a:gd name="T3" fmla="*/ 1085 h 1322"/>
                    <a:gd name="T4" fmla="*/ 0 w 1223"/>
                    <a:gd name="T5" fmla="*/ 1085 h 1322"/>
                    <a:gd name="T6" fmla="*/ 10 w 1223"/>
                    <a:gd name="T7" fmla="*/ 1086 h 1322"/>
                    <a:gd name="T8" fmla="*/ 171 w 1223"/>
                    <a:gd name="T9" fmla="*/ 1117 h 1322"/>
                    <a:gd name="T10" fmla="*/ 171 w 1223"/>
                    <a:gd name="T11" fmla="*/ 1117 h 1322"/>
                    <a:gd name="T12" fmla="*/ 202 w 1223"/>
                    <a:gd name="T13" fmla="*/ 1126 h 1322"/>
                    <a:gd name="T14" fmla="*/ 149 w 1223"/>
                    <a:gd name="T15" fmla="*/ 1170 h 1322"/>
                    <a:gd name="T16" fmla="*/ 129 w 1223"/>
                    <a:gd name="T17" fmla="*/ 1194 h 1322"/>
                    <a:gd name="T18" fmla="*/ 125 w 1223"/>
                    <a:gd name="T19" fmla="*/ 1202 h 1322"/>
                    <a:gd name="T20" fmla="*/ 125 w 1223"/>
                    <a:gd name="T21" fmla="*/ 1203 h 1322"/>
                    <a:gd name="T22" fmla="*/ 121 w 1223"/>
                    <a:gd name="T23" fmla="*/ 1215 h 1322"/>
                    <a:gd name="T24" fmla="*/ 118 w 1223"/>
                    <a:gd name="T25" fmla="*/ 1236 h 1322"/>
                    <a:gd name="T26" fmla="*/ 125 w 1223"/>
                    <a:gd name="T27" fmla="*/ 1269 h 1322"/>
                    <a:gd name="T28" fmla="*/ 133 w 1223"/>
                    <a:gd name="T29" fmla="*/ 1284 h 1322"/>
                    <a:gd name="T30" fmla="*/ 166 w 1223"/>
                    <a:gd name="T31" fmla="*/ 1313 h 1322"/>
                    <a:gd name="T32" fmla="*/ 171 w 1223"/>
                    <a:gd name="T33" fmla="*/ 1316 h 1322"/>
                    <a:gd name="T34" fmla="*/ 183 w 1223"/>
                    <a:gd name="T35" fmla="*/ 1320 h 1322"/>
                    <a:gd name="T36" fmla="*/ 204 w 1223"/>
                    <a:gd name="T37" fmla="*/ 1322 h 1322"/>
                    <a:gd name="T38" fmla="*/ 251 w 1223"/>
                    <a:gd name="T39" fmla="*/ 1308 h 1322"/>
                    <a:gd name="T40" fmla="*/ 270 w 1223"/>
                    <a:gd name="T41" fmla="*/ 1292 h 1322"/>
                    <a:gd name="T42" fmla="*/ 270 w 1223"/>
                    <a:gd name="T43" fmla="*/ 1292 h 1322"/>
                    <a:gd name="T44" fmla="*/ 270 w 1223"/>
                    <a:gd name="T45" fmla="*/ 1292 h 1322"/>
                    <a:gd name="T46" fmla="*/ 274 w 1223"/>
                    <a:gd name="T47" fmla="*/ 1285 h 1322"/>
                    <a:gd name="T48" fmla="*/ 278 w 1223"/>
                    <a:gd name="T49" fmla="*/ 1280 h 1322"/>
                    <a:gd name="T50" fmla="*/ 284 w 1223"/>
                    <a:gd name="T51" fmla="*/ 1269 h 1322"/>
                    <a:gd name="T52" fmla="*/ 284 w 1223"/>
                    <a:gd name="T53" fmla="*/ 1269 h 1322"/>
                    <a:gd name="T54" fmla="*/ 288 w 1223"/>
                    <a:gd name="T55" fmla="*/ 1255 h 1322"/>
                    <a:gd name="T56" fmla="*/ 288 w 1223"/>
                    <a:gd name="T57" fmla="*/ 1255 h 1322"/>
                    <a:gd name="T58" fmla="*/ 289 w 1223"/>
                    <a:gd name="T59" fmla="*/ 1250 h 1322"/>
                    <a:gd name="T60" fmla="*/ 290 w 1223"/>
                    <a:gd name="T61" fmla="*/ 1241 h 1322"/>
                    <a:gd name="T62" fmla="*/ 290 w 1223"/>
                    <a:gd name="T63" fmla="*/ 1241 h 1322"/>
                    <a:gd name="T64" fmla="*/ 290 w 1223"/>
                    <a:gd name="T65" fmla="*/ 1241 h 1322"/>
                    <a:gd name="T66" fmla="*/ 290 w 1223"/>
                    <a:gd name="T67" fmla="*/ 1229 h 1322"/>
                    <a:gd name="T68" fmla="*/ 290 w 1223"/>
                    <a:gd name="T69" fmla="*/ 1229 h 1322"/>
                    <a:gd name="T70" fmla="*/ 290 w 1223"/>
                    <a:gd name="T71" fmla="*/ 1229 h 1322"/>
                    <a:gd name="T72" fmla="*/ 290 w 1223"/>
                    <a:gd name="T73" fmla="*/ 1228 h 1322"/>
                    <a:gd name="T74" fmla="*/ 290 w 1223"/>
                    <a:gd name="T75" fmla="*/ 1228 h 1322"/>
                    <a:gd name="T76" fmla="*/ 284 w 1223"/>
                    <a:gd name="T77" fmla="*/ 1161 h 1322"/>
                    <a:gd name="T78" fmla="*/ 284 w 1223"/>
                    <a:gd name="T79" fmla="*/ 1161 h 1322"/>
                    <a:gd name="T80" fmla="*/ 284 w 1223"/>
                    <a:gd name="T81" fmla="*/ 1160 h 1322"/>
                    <a:gd name="T82" fmla="*/ 312 w 1223"/>
                    <a:gd name="T83" fmla="*/ 1175 h 1322"/>
                    <a:gd name="T84" fmla="*/ 448 w 1223"/>
                    <a:gd name="T85" fmla="*/ 1267 h 1322"/>
                    <a:gd name="T86" fmla="*/ 455 w 1223"/>
                    <a:gd name="T87" fmla="*/ 1273 h 1322"/>
                    <a:gd name="T88" fmla="*/ 1223 w 1223"/>
                    <a:gd name="T89" fmla="*/ 506 h 1322"/>
                    <a:gd name="T90" fmla="*/ 1222 w 1223"/>
                    <a:gd name="T91" fmla="*/ 506 h 1322"/>
                    <a:gd name="T92" fmla="*/ 1217 w 1223"/>
                    <a:gd name="T93" fmla="*/ 501 h 1322"/>
                    <a:gd name="T94" fmla="*/ 1195 w 1223"/>
                    <a:gd name="T95" fmla="*/ 480 h 1322"/>
                    <a:gd name="T96" fmla="*/ 777 w 1223"/>
                    <a:gd name="T97" fmla="*/ 196 h 1322"/>
                    <a:gd name="T98" fmla="*/ 657 w 1223"/>
                    <a:gd name="T99" fmla="*/ 141 h 1322"/>
                    <a:gd name="T100" fmla="*/ 613 w 1223"/>
                    <a:gd name="T101" fmla="*/ 123 h 1322"/>
                    <a:gd name="T102" fmla="*/ 8 w 1223"/>
                    <a:gd name="T103" fmla="*/ 0 h 1322"/>
                    <a:gd name="T104" fmla="*/ 0 w 1223"/>
                    <a:gd name="T105" fmla="*/ 0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3" h="1322">
                      <a:moveTo>
                        <a:pt x="0" y="0"/>
                      </a:moveTo>
                      <a:cubicBezTo>
                        <a:pt x="0" y="1085"/>
                        <a:pt x="0" y="1085"/>
                        <a:pt x="0" y="1085"/>
                      </a:cubicBezTo>
                      <a:cubicBezTo>
                        <a:pt x="0" y="1085"/>
                        <a:pt x="0" y="1085"/>
                        <a:pt x="0" y="1085"/>
                      </a:cubicBezTo>
                      <a:cubicBezTo>
                        <a:pt x="4" y="1085"/>
                        <a:pt x="7" y="1085"/>
                        <a:pt x="10" y="1086"/>
                      </a:cubicBezTo>
                      <a:cubicBezTo>
                        <a:pt x="65" y="1091"/>
                        <a:pt x="119" y="1101"/>
                        <a:pt x="171" y="1117"/>
                      </a:cubicBezTo>
                      <a:cubicBezTo>
                        <a:pt x="171" y="1117"/>
                        <a:pt x="171" y="1117"/>
                        <a:pt x="171" y="1117"/>
                      </a:cubicBezTo>
                      <a:cubicBezTo>
                        <a:pt x="202" y="1126"/>
                        <a:pt x="202" y="1126"/>
                        <a:pt x="202" y="1126"/>
                      </a:cubicBezTo>
                      <a:cubicBezTo>
                        <a:pt x="149" y="1170"/>
                        <a:pt x="149" y="1170"/>
                        <a:pt x="149" y="1170"/>
                      </a:cubicBezTo>
                      <a:cubicBezTo>
                        <a:pt x="141" y="1177"/>
                        <a:pt x="134" y="1185"/>
                        <a:pt x="129" y="1194"/>
                      </a:cubicBezTo>
                      <a:cubicBezTo>
                        <a:pt x="128" y="1197"/>
                        <a:pt x="127" y="1199"/>
                        <a:pt x="125" y="1202"/>
                      </a:cubicBezTo>
                      <a:cubicBezTo>
                        <a:pt x="125" y="1202"/>
                        <a:pt x="125" y="1203"/>
                        <a:pt x="125" y="1203"/>
                      </a:cubicBezTo>
                      <a:cubicBezTo>
                        <a:pt x="123" y="1207"/>
                        <a:pt x="122" y="1211"/>
                        <a:pt x="121" y="1215"/>
                      </a:cubicBezTo>
                      <a:cubicBezTo>
                        <a:pt x="119" y="1222"/>
                        <a:pt x="118" y="1229"/>
                        <a:pt x="118" y="1236"/>
                      </a:cubicBezTo>
                      <a:cubicBezTo>
                        <a:pt x="118" y="1247"/>
                        <a:pt x="120" y="1258"/>
                        <a:pt x="125" y="1269"/>
                      </a:cubicBezTo>
                      <a:cubicBezTo>
                        <a:pt x="127" y="1274"/>
                        <a:pt x="130" y="1279"/>
                        <a:pt x="133" y="1284"/>
                      </a:cubicBezTo>
                      <a:cubicBezTo>
                        <a:pt x="141" y="1296"/>
                        <a:pt x="152" y="1306"/>
                        <a:pt x="166" y="1313"/>
                      </a:cubicBezTo>
                      <a:cubicBezTo>
                        <a:pt x="168" y="1314"/>
                        <a:pt x="169" y="1315"/>
                        <a:pt x="171" y="1316"/>
                      </a:cubicBezTo>
                      <a:cubicBezTo>
                        <a:pt x="175" y="1317"/>
                        <a:pt x="179" y="1319"/>
                        <a:pt x="183" y="1320"/>
                      </a:cubicBezTo>
                      <a:cubicBezTo>
                        <a:pt x="190" y="1321"/>
                        <a:pt x="197" y="1322"/>
                        <a:pt x="204" y="1322"/>
                      </a:cubicBezTo>
                      <a:cubicBezTo>
                        <a:pt x="221" y="1322"/>
                        <a:pt x="237" y="1317"/>
                        <a:pt x="251" y="1308"/>
                      </a:cubicBezTo>
                      <a:cubicBezTo>
                        <a:pt x="258" y="1304"/>
                        <a:pt x="264" y="1298"/>
                        <a:pt x="270" y="1292"/>
                      </a:cubicBezTo>
                      <a:cubicBezTo>
                        <a:pt x="270" y="1292"/>
                        <a:pt x="270" y="1292"/>
                        <a:pt x="270" y="1292"/>
                      </a:cubicBezTo>
                      <a:cubicBezTo>
                        <a:pt x="270" y="1292"/>
                        <a:pt x="270" y="1292"/>
                        <a:pt x="270" y="1292"/>
                      </a:cubicBezTo>
                      <a:cubicBezTo>
                        <a:pt x="271" y="1290"/>
                        <a:pt x="273" y="1288"/>
                        <a:pt x="274" y="1285"/>
                      </a:cubicBezTo>
                      <a:cubicBezTo>
                        <a:pt x="276" y="1283"/>
                        <a:pt x="277" y="1281"/>
                        <a:pt x="278" y="1280"/>
                      </a:cubicBezTo>
                      <a:cubicBezTo>
                        <a:pt x="281" y="1276"/>
                        <a:pt x="282" y="1272"/>
                        <a:pt x="284" y="1269"/>
                      </a:cubicBezTo>
                      <a:cubicBezTo>
                        <a:pt x="284" y="1269"/>
                        <a:pt x="284" y="1269"/>
                        <a:pt x="284" y="1269"/>
                      </a:cubicBezTo>
                      <a:cubicBezTo>
                        <a:pt x="285" y="1265"/>
                        <a:pt x="287" y="1261"/>
                        <a:pt x="288" y="1255"/>
                      </a:cubicBezTo>
                      <a:cubicBezTo>
                        <a:pt x="288" y="1255"/>
                        <a:pt x="288" y="1255"/>
                        <a:pt x="288" y="1255"/>
                      </a:cubicBezTo>
                      <a:cubicBezTo>
                        <a:pt x="288" y="1254"/>
                        <a:pt x="289" y="1252"/>
                        <a:pt x="289" y="1250"/>
                      </a:cubicBezTo>
                      <a:cubicBezTo>
                        <a:pt x="289" y="1247"/>
                        <a:pt x="290" y="1244"/>
                        <a:pt x="290" y="1241"/>
                      </a:cubicBezTo>
                      <a:cubicBezTo>
                        <a:pt x="290" y="1241"/>
                        <a:pt x="290" y="1241"/>
                        <a:pt x="290" y="1241"/>
                      </a:cubicBezTo>
                      <a:cubicBezTo>
                        <a:pt x="290" y="1241"/>
                        <a:pt x="290" y="1241"/>
                        <a:pt x="290" y="1241"/>
                      </a:cubicBezTo>
                      <a:cubicBezTo>
                        <a:pt x="290" y="1236"/>
                        <a:pt x="290" y="1232"/>
                        <a:pt x="290" y="1229"/>
                      </a:cubicBezTo>
                      <a:cubicBezTo>
                        <a:pt x="290" y="1229"/>
                        <a:pt x="290" y="1229"/>
                        <a:pt x="290" y="1229"/>
                      </a:cubicBezTo>
                      <a:cubicBezTo>
                        <a:pt x="290" y="1229"/>
                        <a:pt x="290" y="1229"/>
                        <a:pt x="290" y="1229"/>
                      </a:cubicBezTo>
                      <a:cubicBezTo>
                        <a:pt x="290" y="1229"/>
                        <a:pt x="290" y="1228"/>
                        <a:pt x="290" y="1228"/>
                      </a:cubicBezTo>
                      <a:cubicBezTo>
                        <a:pt x="290" y="1228"/>
                        <a:pt x="290" y="1228"/>
                        <a:pt x="290" y="1228"/>
                      </a:cubicBezTo>
                      <a:cubicBezTo>
                        <a:pt x="284" y="1161"/>
                        <a:pt x="284" y="1161"/>
                        <a:pt x="284" y="1161"/>
                      </a:cubicBezTo>
                      <a:cubicBezTo>
                        <a:pt x="284" y="1161"/>
                        <a:pt x="284" y="1161"/>
                        <a:pt x="284" y="1161"/>
                      </a:cubicBezTo>
                      <a:cubicBezTo>
                        <a:pt x="284" y="1160"/>
                        <a:pt x="284" y="1160"/>
                        <a:pt x="284" y="1160"/>
                      </a:cubicBezTo>
                      <a:cubicBezTo>
                        <a:pt x="312" y="1175"/>
                        <a:pt x="312" y="1175"/>
                        <a:pt x="312" y="1175"/>
                      </a:cubicBezTo>
                      <a:cubicBezTo>
                        <a:pt x="360" y="1201"/>
                        <a:pt x="405" y="1232"/>
                        <a:pt x="448" y="1267"/>
                      </a:cubicBezTo>
                      <a:cubicBezTo>
                        <a:pt x="450" y="1269"/>
                        <a:pt x="453" y="1271"/>
                        <a:pt x="455" y="1273"/>
                      </a:cubicBezTo>
                      <a:cubicBezTo>
                        <a:pt x="1223" y="506"/>
                        <a:pt x="1223" y="506"/>
                        <a:pt x="1223" y="506"/>
                      </a:cubicBezTo>
                      <a:cubicBezTo>
                        <a:pt x="1222" y="506"/>
                        <a:pt x="1222" y="506"/>
                        <a:pt x="1222" y="506"/>
                      </a:cubicBezTo>
                      <a:cubicBezTo>
                        <a:pt x="1220" y="504"/>
                        <a:pt x="1219" y="502"/>
                        <a:pt x="1217" y="501"/>
                      </a:cubicBezTo>
                      <a:cubicBezTo>
                        <a:pt x="1209" y="494"/>
                        <a:pt x="1202" y="487"/>
                        <a:pt x="1195" y="480"/>
                      </a:cubicBezTo>
                      <a:cubicBezTo>
                        <a:pt x="1068" y="366"/>
                        <a:pt x="928" y="271"/>
                        <a:pt x="777" y="196"/>
                      </a:cubicBezTo>
                      <a:cubicBezTo>
                        <a:pt x="738" y="176"/>
                        <a:pt x="698" y="158"/>
                        <a:pt x="657" y="141"/>
                      </a:cubicBezTo>
                      <a:cubicBezTo>
                        <a:pt x="643" y="135"/>
                        <a:pt x="628" y="129"/>
                        <a:pt x="613" y="123"/>
                      </a:cubicBezTo>
                      <a:cubicBezTo>
                        <a:pt x="420" y="49"/>
                        <a:pt x="217" y="8"/>
                        <a:pt x="8" y="0"/>
                      </a:cubicBezTo>
                      <a:cubicBezTo>
                        <a:pt x="5" y="0"/>
                        <a:pt x="3"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15">
                  <a:extLst>
                    <a:ext uri="{FF2B5EF4-FFF2-40B4-BE49-F238E27FC236}">
                      <a16:creationId xmlns:a16="http://schemas.microsoft.com/office/drawing/2014/main" id="{63A3BE2C-391C-442D-A09A-2278A0D09874}"/>
                    </a:ext>
                  </a:extLst>
                </p:cNvPr>
                <p:cNvSpPr>
                  <a:spLocks/>
                </p:cNvSpPr>
                <p:nvPr/>
              </p:nvSpPr>
              <p:spPr bwMode="auto">
                <a:xfrm>
                  <a:off x="6639583" y="2474023"/>
                  <a:ext cx="1611151" cy="1498661"/>
                </a:xfrm>
                <a:custGeom>
                  <a:avLst/>
                  <a:gdLst>
                    <a:gd name="T0" fmla="*/ 44 w 1359"/>
                    <a:gd name="T1" fmla="*/ 791 h 1264"/>
                    <a:gd name="T2" fmla="*/ 61 w 1359"/>
                    <a:gd name="T3" fmla="*/ 810 h 1264"/>
                    <a:gd name="T4" fmla="*/ 150 w 1359"/>
                    <a:gd name="T5" fmla="*/ 943 h 1264"/>
                    <a:gd name="T6" fmla="*/ 114 w 1359"/>
                    <a:gd name="T7" fmla="*/ 940 h 1264"/>
                    <a:gd name="T8" fmla="*/ 77 w 1359"/>
                    <a:gd name="T9" fmla="*/ 943 h 1264"/>
                    <a:gd name="T10" fmla="*/ 65 w 1359"/>
                    <a:gd name="T11" fmla="*/ 947 h 1264"/>
                    <a:gd name="T12" fmla="*/ 9 w 1359"/>
                    <a:gd name="T13" fmla="*/ 1003 h 1264"/>
                    <a:gd name="T14" fmla="*/ 4 w 1359"/>
                    <a:gd name="T15" fmla="*/ 1023 h 1264"/>
                    <a:gd name="T16" fmla="*/ 9 w 1359"/>
                    <a:gd name="T17" fmla="*/ 1082 h 1264"/>
                    <a:gd name="T18" fmla="*/ 9 w 1359"/>
                    <a:gd name="T19" fmla="*/ 1082 h 1264"/>
                    <a:gd name="T20" fmla="*/ 113 w 1359"/>
                    <a:gd name="T21" fmla="*/ 1146 h 1264"/>
                    <a:gd name="T22" fmla="*/ 124 w 1359"/>
                    <a:gd name="T23" fmla="*/ 1144 h 1264"/>
                    <a:gd name="T24" fmla="*/ 144 w 1359"/>
                    <a:gd name="T25" fmla="*/ 1138 h 1264"/>
                    <a:gd name="T26" fmla="*/ 160 w 1359"/>
                    <a:gd name="T27" fmla="*/ 1130 h 1264"/>
                    <a:gd name="T28" fmla="*/ 173 w 1359"/>
                    <a:gd name="T29" fmla="*/ 1120 h 1264"/>
                    <a:gd name="T30" fmla="*/ 184 w 1359"/>
                    <a:gd name="T31" fmla="*/ 1109 h 1264"/>
                    <a:gd name="T32" fmla="*/ 207 w 1359"/>
                    <a:gd name="T33" fmla="*/ 1081 h 1264"/>
                    <a:gd name="T34" fmla="*/ 238 w 1359"/>
                    <a:gd name="T35" fmla="*/ 1238 h 1264"/>
                    <a:gd name="T36" fmla="*/ 240 w 1359"/>
                    <a:gd name="T37" fmla="*/ 1264 h 1264"/>
                    <a:gd name="T38" fmla="*/ 1359 w 1359"/>
                    <a:gd name="T39" fmla="*/ 1264 h 1264"/>
                    <a:gd name="T40" fmla="*/ 1358 w 1359"/>
                    <a:gd name="T41" fmla="*/ 1238 h 1264"/>
                    <a:gd name="T42" fmla="*/ 853 w 1359"/>
                    <a:gd name="T43" fmla="*/ 18 h 1264"/>
                    <a:gd name="T44" fmla="*/ 835 w 1359"/>
                    <a:gd name="T45" fmla="*/ 0 h 1264"/>
                    <a:gd name="T46" fmla="*/ 44 w 1359"/>
                    <a:gd name="T47" fmla="*/ 791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9" h="1264">
                      <a:moveTo>
                        <a:pt x="44" y="791"/>
                      </a:moveTo>
                      <a:cubicBezTo>
                        <a:pt x="50" y="797"/>
                        <a:pt x="55" y="804"/>
                        <a:pt x="61" y="810"/>
                      </a:cubicBezTo>
                      <a:cubicBezTo>
                        <a:pt x="95" y="851"/>
                        <a:pt x="125" y="895"/>
                        <a:pt x="150" y="943"/>
                      </a:cubicBezTo>
                      <a:cubicBezTo>
                        <a:pt x="114" y="940"/>
                        <a:pt x="114" y="940"/>
                        <a:pt x="114" y="940"/>
                      </a:cubicBezTo>
                      <a:cubicBezTo>
                        <a:pt x="102" y="939"/>
                        <a:pt x="89" y="940"/>
                        <a:pt x="77" y="943"/>
                      </a:cubicBezTo>
                      <a:cubicBezTo>
                        <a:pt x="73" y="945"/>
                        <a:pt x="69" y="946"/>
                        <a:pt x="65" y="947"/>
                      </a:cubicBezTo>
                      <a:cubicBezTo>
                        <a:pt x="40" y="958"/>
                        <a:pt x="20" y="978"/>
                        <a:pt x="9" y="1003"/>
                      </a:cubicBezTo>
                      <a:cubicBezTo>
                        <a:pt x="7" y="1010"/>
                        <a:pt x="5" y="1016"/>
                        <a:pt x="4" y="1023"/>
                      </a:cubicBezTo>
                      <a:cubicBezTo>
                        <a:pt x="0" y="1043"/>
                        <a:pt x="2" y="1063"/>
                        <a:pt x="9" y="1082"/>
                      </a:cubicBezTo>
                      <a:cubicBezTo>
                        <a:pt x="9" y="1082"/>
                        <a:pt x="9" y="1082"/>
                        <a:pt x="9" y="1082"/>
                      </a:cubicBezTo>
                      <a:cubicBezTo>
                        <a:pt x="27" y="1124"/>
                        <a:pt x="68" y="1149"/>
                        <a:pt x="113" y="1146"/>
                      </a:cubicBezTo>
                      <a:cubicBezTo>
                        <a:pt x="117" y="1145"/>
                        <a:pt x="121" y="1145"/>
                        <a:pt x="124" y="1144"/>
                      </a:cubicBezTo>
                      <a:cubicBezTo>
                        <a:pt x="131" y="1143"/>
                        <a:pt x="138" y="1141"/>
                        <a:pt x="144" y="1138"/>
                      </a:cubicBezTo>
                      <a:cubicBezTo>
                        <a:pt x="150" y="1136"/>
                        <a:pt x="155" y="1133"/>
                        <a:pt x="160" y="1130"/>
                      </a:cubicBezTo>
                      <a:cubicBezTo>
                        <a:pt x="164" y="1127"/>
                        <a:pt x="169" y="1124"/>
                        <a:pt x="173" y="1120"/>
                      </a:cubicBezTo>
                      <a:cubicBezTo>
                        <a:pt x="177" y="1117"/>
                        <a:pt x="181" y="1113"/>
                        <a:pt x="184" y="1109"/>
                      </a:cubicBezTo>
                      <a:cubicBezTo>
                        <a:pt x="207" y="1081"/>
                        <a:pt x="207" y="1081"/>
                        <a:pt x="207" y="1081"/>
                      </a:cubicBezTo>
                      <a:cubicBezTo>
                        <a:pt x="223" y="1133"/>
                        <a:pt x="233" y="1186"/>
                        <a:pt x="238" y="1238"/>
                      </a:cubicBezTo>
                      <a:cubicBezTo>
                        <a:pt x="239" y="1247"/>
                        <a:pt x="239" y="1255"/>
                        <a:pt x="240" y="1264"/>
                      </a:cubicBezTo>
                      <a:cubicBezTo>
                        <a:pt x="1359" y="1264"/>
                        <a:pt x="1359" y="1264"/>
                        <a:pt x="1359" y="1264"/>
                      </a:cubicBezTo>
                      <a:cubicBezTo>
                        <a:pt x="1358" y="1255"/>
                        <a:pt x="1358" y="1247"/>
                        <a:pt x="1358" y="1238"/>
                      </a:cubicBezTo>
                      <a:cubicBezTo>
                        <a:pt x="1342" y="798"/>
                        <a:pt x="1174" y="363"/>
                        <a:pt x="853" y="18"/>
                      </a:cubicBezTo>
                      <a:cubicBezTo>
                        <a:pt x="847" y="12"/>
                        <a:pt x="841" y="6"/>
                        <a:pt x="835" y="0"/>
                      </a:cubicBezTo>
                      <a:cubicBezTo>
                        <a:pt x="44" y="791"/>
                        <a:pt x="44" y="791"/>
                        <a:pt x="44" y="7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36">
                  <a:extLst>
                    <a:ext uri="{FF2B5EF4-FFF2-40B4-BE49-F238E27FC236}">
                      <a16:creationId xmlns:a16="http://schemas.microsoft.com/office/drawing/2014/main" id="{FE21F69C-0EC8-4CFD-9A36-25557D14F0C2}"/>
                    </a:ext>
                  </a:extLst>
                </p:cNvPr>
                <p:cNvSpPr>
                  <a:spLocks/>
                </p:cNvSpPr>
                <p:nvPr/>
              </p:nvSpPr>
              <p:spPr bwMode="auto">
                <a:xfrm>
                  <a:off x="6662081" y="2502327"/>
                  <a:ext cx="1567607" cy="1450036"/>
                </a:xfrm>
                <a:custGeom>
                  <a:avLst/>
                  <a:gdLst>
                    <a:gd name="T0" fmla="*/ 49 w 1322"/>
                    <a:gd name="T1" fmla="*/ 768 h 1223"/>
                    <a:gd name="T2" fmla="*/ 55 w 1322"/>
                    <a:gd name="T3" fmla="*/ 775 h 1223"/>
                    <a:gd name="T4" fmla="*/ 147 w 1322"/>
                    <a:gd name="T5" fmla="*/ 911 h 1223"/>
                    <a:gd name="T6" fmla="*/ 161 w 1322"/>
                    <a:gd name="T7" fmla="*/ 939 h 1223"/>
                    <a:gd name="T8" fmla="*/ 94 w 1322"/>
                    <a:gd name="T9" fmla="*/ 933 h 1223"/>
                    <a:gd name="T10" fmla="*/ 93 w 1322"/>
                    <a:gd name="T11" fmla="*/ 933 h 1223"/>
                    <a:gd name="T12" fmla="*/ 92 w 1322"/>
                    <a:gd name="T13" fmla="*/ 933 h 1223"/>
                    <a:gd name="T14" fmla="*/ 92 w 1322"/>
                    <a:gd name="T15" fmla="*/ 933 h 1223"/>
                    <a:gd name="T16" fmla="*/ 92 w 1322"/>
                    <a:gd name="T17" fmla="*/ 933 h 1223"/>
                    <a:gd name="T18" fmla="*/ 92 w 1322"/>
                    <a:gd name="T19" fmla="*/ 933 h 1223"/>
                    <a:gd name="T20" fmla="*/ 91 w 1322"/>
                    <a:gd name="T21" fmla="*/ 933 h 1223"/>
                    <a:gd name="T22" fmla="*/ 91 w 1322"/>
                    <a:gd name="T23" fmla="*/ 933 h 1223"/>
                    <a:gd name="T24" fmla="*/ 91 w 1322"/>
                    <a:gd name="T25" fmla="*/ 933 h 1223"/>
                    <a:gd name="T26" fmla="*/ 86 w 1322"/>
                    <a:gd name="T27" fmla="*/ 933 h 1223"/>
                    <a:gd name="T28" fmla="*/ 59 w 1322"/>
                    <a:gd name="T29" fmla="*/ 937 h 1223"/>
                    <a:gd name="T30" fmla="*/ 53 w 1322"/>
                    <a:gd name="T31" fmla="*/ 939 h 1223"/>
                    <a:gd name="T32" fmla="*/ 6 w 1322"/>
                    <a:gd name="T33" fmla="*/ 986 h 1223"/>
                    <a:gd name="T34" fmla="*/ 0 w 1322"/>
                    <a:gd name="T35" fmla="*/ 1019 h 1223"/>
                    <a:gd name="T36" fmla="*/ 5 w 1322"/>
                    <a:gd name="T37" fmla="*/ 1048 h 1223"/>
                    <a:gd name="T38" fmla="*/ 26 w 1322"/>
                    <a:gd name="T39" fmla="*/ 1080 h 1223"/>
                    <a:gd name="T40" fmla="*/ 26 w 1322"/>
                    <a:gd name="T41" fmla="*/ 1081 h 1223"/>
                    <a:gd name="T42" fmla="*/ 93 w 1322"/>
                    <a:gd name="T43" fmla="*/ 1105 h 1223"/>
                    <a:gd name="T44" fmla="*/ 93 w 1322"/>
                    <a:gd name="T45" fmla="*/ 1105 h 1223"/>
                    <a:gd name="T46" fmla="*/ 101 w 1322"/>
                    <a:gd name="T47" fmla="*/ 1103 h 1223"/>
                    <a:gd name="T48" fmla="*/ 119 w 1322"/>
                    <a:gd name="T49" fmla="*/ 1098 h 1223"/>
                    <a:gd name="T50" fmla="*/ 119 w 1322"/>
                    <a:gd name="T51" fmla="*/ 1098 h 1223"/>
                    <a:gd name="T52" fmla="*/ 139 w 1322"/>
                    <a:gd name="T53" fmla="*/ 1087 h 1223"/>
                    <a:gd name="T54" fmla="*/ 147 w 1322"/>
                    <a:gd name="T55" fmla="*/ 1079 h 1223"/>
                    <a:gd name="T56" fmla="*/ 196 w 1322"/>
                    <a:gd name="T57" fmla="*/ 1021 h 1223"/>
                    <a:gd name="T58" fmla="*/ 196 w 1322"/>
                    <a:gd name="T59" fmla="*/ 1021 h 1223"/>
                    <a:gd name="T60" fmla="*/ 236 w 1322"/>
                    <a:gd name="T61" fmla="*/ 1213 h 1223"/>
                    <a:gd name="T62" fmla="*/ 237 w 1322"/>
                    <a:gd name="T63" fmla="*/ 1217 h 1223"/>
                    <a:gd name="T64" fmla="*/ 1322 w 1322"/>
                    <a:gd name="T65" fmla="*/ 1223 h 1223"/>
                    <a:gd name="T66" fmla="*/ 1322 w 1322"/>
                    <a:gd name="T67" fmla="*/ 1215 h 1223"/>
                    <a:gd name="T68" fmla="*/ 821 w 1322"/>
                    <a:gd name="T69" fmla="*/ 6 h 1223"/>
                    <a:gd name="T70" fmla="*/ 816 w 1322"/>
                    <a:gd name="T71" fmla="*/ 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223">
                      <a:moveTo>
                        <a:pt x="816" y="0"/>
                      </a:moveTo>
                      <a:cubicBezTo>
                        <a:pt x="49" y="768"/>
                        <a:pt x="49" y="768"/>
                        <a:pt x="49" y="768"/>
                      </a:cubicBezTo>
                      <a:cubicBezTo>
                        <a:pt x="49" y="769"/>
                        <a:pt x="50" y="770"/>
                        <a:pt x="51" y="771"/>
                      </a:cubicBezTo>
                      <a:cubicBezTo>
                        <a:pt x="52" y="772"/>
                        <a:pt x="54" y="774"/>
                        <a:pt x="55" y="775"/>
                      </a:cubicBezTo>
                      <a:cubicBezTo>
                        <a:pt x="55" y="775"/>
                        <a:pt x="55" y="775"/>
                        <a:pt x="55" y="775"/>
                      </a:cubicBezTo>
                      <a:cubicBezTo>
                        <a:pt x="90" y="818"/>
                        <a:pt x="121" y="863"/>
                        <a:pt x="147" y="911"/>
                      </a:cubicBezTo>
                      <a:cubicBezTo>
                        <a:pt x="162" y="939"/>
                        <a:pt x="162" y="939"/>
                        <a:pt x="162" y="939"/>
                      </a:cubicBezTo>
                      <a:cubicBezTo>
                        <a:pt x="161" y="939"/>
                        <a:pt x="161" y="939"/>
                        <a:pt x="161" y="939"/>
                      </a:cubicBezTo>
                      <a:cubicBezTo>
                        <a:pt x="161" y="939"/>
                        <a:pt x="161" y="939"/>
                        <a:pt x="161" y="939"/>
                      </a:cubicBezTo>
                      <a:cubicBezTo>
                        <a:pt x="94" y="933"/>
                        <a:pt x="94" y="933"/>
                        <a:pt x="94" y="933"/>
                      </a:cubicBezTo>
                      <a:cubicBezTo>
                        <a:pt x="94" y="933"/>
                        <a:pt x="93" y="933"/>
                        <a:pt x="93" y="933"/>
                      </a:cubicBezTo>
                      <a:cubicBezTo>
                        <a:pt x="93" y="933"/>
                        <a:pt x="93" y="933"/>
                        <a:pt x="93" y="933"/>
                      </a:cubicBezTo>
                      <a:cubicBezTo>
                        <a:pt x="93" y="933"/>
                        <a:pt x="93" y="933"/>
                        <a:pt x="92" y="933"/>
                      </a:cubicBezTo>
                      <a:cubicBezTo>
                        <a:pt x="92" y="933"/>
                        <a:pt x="92" y="933"/>
                        <a:pt x="92" y="933"/>
                      </a:cubicBezTo>
                      <a:cubicBezTo>
                        <a:pt x="92" y="933"/>
                        <a:pt x="92" y="933"/>
                        <a:pt x="92" y="933"/>
                      </a:cubicBezTo>
                      <a:cubicBezTo>
                        <a:pt x="92" y="933"/>
                        <a:pt x="92" y="933"/>
                        <a:pt x="92" y="933"/>
                      </a:cubicBezTo>
                      <a:cubicBezTo>
                        <a:pt x="92" y="933"/>
                        <a:pt x="92" y="933"/>
                        <a:pt x="92" y="933"/>
                      </a:cubicBezTo>
                      <a:cubicBezTo>
                        <a:pt x="92" y="933"/>
                        <a:pt x="92" y="933"/>
                        <a:pt x="92" y="933"/>
                      </a:cubicBezTo>
                      <a:cubicBezTo>
                        <a:pt x="92" y="933"/>
                        <a:pt x="92" y="933"/>
                        <a:pt x="92" y="933"/>
                      </a:cubicBezTo>
                      <a:cubicBezTo>
                        <a:pt x="92" y="933"/>
                        <a:pt x="92" y="933"/>
                        <a:pt x="92" y="933"/>
                      </a:cubicBezTo>
                      <a:cubicBezTo>
                        <a:pt x="92" y="933"/>
                        <a:pt x="92" y="933"/>
                        <a:pt x="91" y="933"/>
                      </a:cubicBezTo>
                      <a:cubicBezTo>
                        <a:pt x="91" y="933"/>
                        <a:pt x="91" y="933"/>
                        <a:pt x="91" y="933"/>
                      </a:cubicBezTo>
                      <a:cubicBezTo>
                        <a:pt x="91" y="933"/>
                        <a:pt x="91" y="933"/>
                        <a:pt x="91" y="933"/>
                      </a:cubicBezTo>
                      <a:cubicBezTo>
                        <a:pt x="91" y="933"/>
                        <a:pt x="91" y="933"/>
                        <a:pt x="91" y="933"/>
                      </a:cubicBezTo>
                      <a:cubicBezTo>
                        <a:pt x="91" y="933"/>
                        <a:pt x="91" y="933"/>
                        <a:pt x="91" y="933"/>
                      </a:cubicBezTo>
                      <a:cubicBezTo>
                        <a:pt x="91" y="933"/>
                        <a:pt x="91" y="933"/>
                        <a:pt x="91" y="933"/>
                      </a:cubicBezTo>
                      <a:cubicBezTo>
                        <a:pt x="91" y="933"/>
                        <a:pt x="91" y="933"/>
                        <a:pt x="91" y="933"/>
                      </a:cubicBezTo>
                      <a:cubicBezTo>
                        <a:pt x="89" y="933"/>
                        <a:pt x="87" y="933"/>
                        <a:pt x="86" y="933"/>
                      </a:cubicBezTo>
                      <a:cubicBezTo>
                        <a:pt x="78" y="933"/>
                        <a:pt x="70" y="934"/>
                        <a:pt x="63" y="936"/>
                      </a:cubicBezTo>
                      <a:cubicBezTo>
                        <a:pt x="61" y="936"/>
                        <a:pt x="60" y="937"/>
                        <a:pt x="59" y="937"/>
                      </a:cubicBezTo>
                      <a:cubicBezTo>
                        <a:pt x="57" y="938"/>
                        <a:pt x="56" y="938"/>
                        <a:pt x="55" y="939"/>
                      </a:cubicBezTo>
                      <a:cubicBezTo>
                        <a:pt x="54" y="939"/>
                        <a:pt x="53" y="939"/>
                        <a:pt x="53" y="939"/>
                      </a:cubicBezTo>
                      <a:cubicBezTo>
                        <a:pt x="40" y="945"/>
                        <a:pt x="28" y="953"/>
                        <a:pt x="19" y="964"/>
                      </a:cubicBezTo>
                      <a:cubicBezTo>
                        <a:pt x="14" y="971"/>
                        <a:pt x="10" y="978"/>
                        <a:pt x="6" y="986"/>
                      </a:cubicBezTo>
                      <a:cubicBezTo>
                        <a:pt x="4" y="991"/>
                        <a:pt x="3" y="997"/>
                        <a:pt x="1" y="1002"/>
                      </a:cubicBezTo>
                      <a:cubicBezTo>
                        <a:pt x="0" y="1008"/>
                        <a:pt x="0" y="1013"/>
                        <a:pt x="0" y="1019"/>
                      </a:cubicBezTo>
                      <a:cubicBezTo>
                        <a:pt x="0" y="1019"/>
                        <a:pt x="0" y="1019"/>
                        <a:pt x="0" y="1020"/>
                      </a:cubicBezTo>
                      <a:cubicBezTo>
                        <a:pt x="0" y="1029"/>
                        <a:pt x="2" y="1039"/>
                        <a:pt x="5" y="1048"/>
                      </a:cubicBezTo>
                      <a:cubicBezTo>
                        <a:pt x="5" y="1049"/>
                        <a:pt x="6" y="1050"/>
                        <a:pt x="6" y="1052"/>
                      </a:cubicBezTo>
                      <a:cubicBezTo>
                        <a:pt x="11" y="1063"/>
                        <a:pt x="18" y="1073"/>
                        <a:pt x="26" y="1080"/>
                      </a:cubicBezTo>
                      <a:cubicBezTo>
                        <a:pt x="26" y="1081"/>
                        <a:pt x="26" y="1081"/>
                        <a:pt x="26" y="1081"/>
                      </a:cubicBezTo>
                      <a:cubicBezTo>
                        <a:pt x="26" y="1081"/>
                        <a:pt x="26" y="1081"/>
                        <a:pt x="26" y="1081"/>
                      </a:cubicBezTo>
                      <a:cubicBezTo>
                        <a:pt x="42" y="1096"/>
                        <a:pt x="63" y="1105"/>
                        <a:pt x="86" y="1105"/>
                      </a:cubicBezTo>
                      <a:cubicBezTo>
                        <a:pt x="88" y="1105"/>
                        <a:pt x="90" y="1105"/>
                        <a:pt x="93" y="1105"/>
                      </a:cubicBezTo>
                      <a:cubicBezTo>
                        <a:pt x="93" y="1105"/>
                        <a:pt x="93" y="1105"/>
                        <a:pt x="93" y="1105"/>
                      </a:cubicBezTo>
                      <a:cubicBezTo>
                        <a:pt x="93" y="1105"/>
                        <a:pt x="93" y="1105"/>
                        <a:pt x="93" y="1105"/>
                      </a:cubicBezTo>
                      <a:cubicBezTo>
                        <a:pt x="95" y="1104"/>
                        <a:pt x="98" y="1104"/>
                        <a:pt x="101" y="1103"/>
                      </a:cubicBezTo>
                      <a:cubicBezTo>
                        <a:pt x="101" y="1103"/>
                        <a:pt x="101" y="1103"/>
                        <a:pt x="101" y="1103"/>
                      </a:cubicBezTo>
                      <a:cubicBezTo>
                        <a:pt x="101" y="1103"/>
                        <a:pt x="101" y="1103"/>
                        <a:pt x="101" y="1103"/>
                      </a:cubicBezTo>
                      <a:cubicBezTo>
                        <a:pt x="109" y="1102"/>
                        <a:pt x="114" y="1100"/>
                        <a:pt x="119" y="1098"/>
                      </a:cubicBezTo>
                      <a:cubicBezTo>
                        <a:pt x="119" y="1098"/>
                        <a:pt x="119" y="1098"/>
                        <a:pt x="119" y="1098"/>
                      </a:cubicBezTo>
                      <a:cubicBezTo>
                        <a:pt x="119" y="1098"/>
                        <a:pt x="119" y="1098"/>
                        <a:pt x="119" y="1098"/>
                      </a:cubicBezTo>
                      <a:cubicBezTo>
                        <a:pt x="123" y="1097"/>
                        <a:pt x="127" y="1095"/>
                        <a:pt x="131" y="1092"/>
                      </a:cubicBezTo>
                      <a:cubicBezTo>
                        <a:pt x="134" y="1090"/>
                        <a:pt x="136" y="1088"/>
                        <a:pt x="139" y="1087"/>
                      </a:cubicBezTo>
                      <a:cubicBezTo>
                        <a:pt x="140" y="1085"/>
                        <a:pt x="142" y="1084"/>
                        <a:pt x="143" y="1083"/>
                      </a:cubicBezTo>
                      <a:cubicBezTo>
                        <a:pt x="144" y="1082"/>
                        <a:pt x="146" y="1080"/>
                        <a:pt x="147" y="1079"/>
                      </a:cubicBezTo>
                      <a:cubicBezTo>
                        <a:pt x="149" y="1077"/>
                        <a:pt x="151" y="1076"/>
                        <a:pt x="152" y="1074"/>
                      </a:cubicBezTo>
                      <a:cubicBezTo>
                        <a:pt x="196" y="1021"/>
                        <a:pt x="196" y="1021"/>
                        <a:pt x="196" y="1021"/>
                      </a:cubicBezTo>
                      <a:cubicBezTo>
                        <a:pt x="196" y="1021"/>
                        <a:pt x="196" y="1021"/>
                        <a:pt x="196" y="1021"/>
                      </a:cubicBezTo>
                      <a:cubicBezTo>
                        <a:pt x="196" y="1021"/>
                        <a:pt x="196" y="1021"/>
                        <a:pt x="196" y="1021"/>
                      </a:cubicBezTo>
                      <a:cubicBezTo>
                        <a:pt x="205" y="1052"/>
                        <a:pt x="205" y="1052"/>
                        <a:pt x="205" y="1052"/>
                      </a:cubicBezTo>
                      <a:cubicBezTo>
                        <a:pt x="221" y="1104"/>
                        <a:pt x="231" y="1158"/>
                        <a:pt x="236" y="1213"/>
                      </a:cubicBezTo>
                      <a:cubicBezTo>
                        <a:pt x="236" y="1213"/>
                        <a:pt x="236" y="1213"/>
                        <a:pt x="236" y="1213"/>
                      </a:cubicBezTo>
                      <a:cubicBezTo>
                        <a:pt x="236" y="1214"/>
                        <a:pt x="236" y="1215"/>
                        <a:pt x="237" y="1217"/>
                      </a:cubicBezTo>
                      <a:cubicBezTo>
                        <a:pt x="237" y="1219"/>
                        <a:pt x="237" y="1221"/>
                        <a:pt x="237" y="1223"/>
                      </a:cubicBezTo>
                      <a:cubicBezTo>
                        <a:pt x="1322" y="1223"/>
                        <a:pt x="1322" y="1223"/>
                        <a:pt x="1322" y="1223"/>
                      </a:cubicBezTo>
                      <a:cubicBezTo>
                        <a:pt x="1322" y="1221"/>
                        <a:pt x="1322" y="1220"/>
                        <a:pt x="1322" y="1219"/>
                      </a:cubicBezTo>
                      <a:cubicBezTo>
                        <a:pt x="1322" y="1217"/>
                        <a:pt x="1322" y="1216"/>
                        <a:pt x="1322" y="1215"/>
                      </a:cubicBezTo>
                      <a:cubicBezTo>
                        <a:pt x="1314" y="990"/>
                        <a:pt x="1266" y="771"/>
                        <a:pt x="1181" y="565"/>
                      </a:cubicBezTo>
                      <a:cubicBezTo>
                        <a:pt x="1095" y="358"/>
                        <a:pt x="974" y="171"/>
                        <a:pt x="821" y="6"/>
                      </a:cubicBezTo>
                      <a:cubicBezTo>
                        <a:pt x="819" y="4"/>
                        <a:pt x="818" y="2"/>
                        <a:pt x="816" y="0"/>
                      </a:cubicBezTo>
                      <a:cubicBezTo>
                        <a:pt x="816" y="0"/>
                        <a:pt x="816" y="0"/>
                        <a:pt x="81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39">
                  <a:extLst>
                    <a:ext uri="{FF2B5EF4-FFF2-40B4-BE49-F238E27FC236}">
                      <a16:creationId xmlns:a16="http://schemas.microsoft.com/office/drawing/2014/main" id="{0DD383EA-DB47-443B-B29F-FC93A412CE6F}"/>
                    </a:ext>
                  </a:extLst>
                </p:cNvPr>
                <p:cNvSpPr>
                  <a:spLocks/>
                </p:cNvSpPr>
                <p:nvPr/>
              </p:nvSpPr>
              <p:spPr bwMode="auto">
                <a:xfrm>
                  <a:off x="6630148" y="4074288"/>
                  <a:ext cx="1620586" cy="1498661"/>
                </a:xfrm>
                <a:custGeom>
                  <a:avLst/>
                  <a:gdLst>
                    <a:gd name="T0" fmla="*/ 248 w 1367"/>
                    <a:gd name="T1" fmla="*/ 0 h 1264"/>
                    <a:gd name="T2" fmla="*/ 246 w 1367"/>
                    <a:gd name="T3" fmla="*/ 26 h 1264"/>
                    <a:gd name="T4" fmla="*/ 215 w 1367"/>
                    <a:gd name="T5" fmla="*/ 183 h 1264"/>
                    <a:gd name="T6" fmla="*/ 192 w 1367"/>
                    <a:gd name="T7" fmla="*/ 155 h 1264"/>
                    <a:gd name="T8" fmla="*/ 163 w 1367"/>
                    <a:gd name="T9" fmla="*/ 131 h 1264"/>
                    <a:gd name="T10" fmla="*/ 152 w 1367"/>
                    <a:gd name="T11" fmla="*/ 126 h 1264"/>
                    <a:gd name="T12" fmla="*/ 73 w 1367"/>
                    <a:gd name="T13" fmla="*/ 126 h 1264"/>
                    <a:gd name="T14" fmla="*/ 55 w 1367"/>
                    <a:gd name="T15" fmla="*/ 135 h 1264"/>
                    <a:gd name="T16" fmla="*/ 18 w 1367"/>
                    <a:gd name="T17" fmla="*/ 182 h 1264"/>
                    <a:gd name="T18" fmla="*/ 17 w 1367"/>
                    <a:gd name="T19" fmla="*/ 182 h 1264"/>
                    <a:gd name="T20" fmla="*/ 46 w 1367"/>
                    <a:gd name="T21" fmla="*/ 300 h 1264"/>
                    <a:gd name="T22" fmla="*/ 55 w 1367"/>
                    <a:gd name="T23" fmla="*/ 306 h 1264"/>
                    <a:gd name="T24" fmla="*/ 73 w 1367"/>
                    <a:gd name="T25" fmla="*/ 317 h 1264"/>
                    <a:gd name="T26" fmla="*/ 90 w 1367"/>
                    <a:gd name="T27" fmla="*/ 322 h 1264"/>
                    <a:gd name="T28" fmla="*/ 107 w 1367"/>
                    <a:gd name="T29" fmla="*/ 324 h 1264"/>
                    <a:gd name="T30" fmla="*/ 122 w 1367"/>
                    <a:gd name="T31" fmla="*/ 324 h 1264"/>
                    <a:gd name="T32" fmla="*/ 158 w 1367"/>
                    <a:gd name="T33" fmla="*/ 321 h 1264"/>
                    <a:gd name="T34" fmla="*/ 69 w 1367"/>
                    <a:gd name="T35" fmla="*/ 454 h 1264"/>
                    <a:gd name="T36" fmla="*/ 52 w 1367"/>
                    <a:gd name="T37" fmla="*/ 473 h 1264"/>
                    <a:gd name="T38" fmla="*/ 843 w 1367"/>
                    <a:gd name="T39" fmla="*/ 1264 h 1264"/>
                    <a:gd name="T40" fmla="*/ 861 w 1367"/>
                    <a:gd name="T41" fmla="*/ 1246 h 1264"/>
                    <a:gd name="T42" fmla="*/ 1366 w 1367"/>
                    <a:gd name="T43" fmla="*/ 26 h 1264"/>
                    <a:gd name="T44" fmla="*/ 1367 w 1367"/>
                    <a:gd name="T45" fmla="*/ 0 h 1264"/>
                    <a:gd name="T46" fmla="*/ 248 w 1367"/>
                    <a:gd name="T47" fmla="*/ 0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7" h="1264">
                      <a:moveTo>
                        <a:pt x="248" y="0"/>
                      </a:moveTo>
                      <a:cubicBezTo>
                        <a:pt x="247" y="9"/>
                        <a:pt x="247" y="17"/>
                        <a:pt x="246" y="26"/>
                      </a:cubicBezTo>
                      <a:cubicBezTo>
                        <a:pt x="241" y="78"/>
                        <a:pt x="231" y="131"/>
                        <a:pt x="215" y="183"/>
                      </a:cubicBezTo>
                      <a:cubicBezTo>
                        <a:pt x="192" y="155"/>
                        <a:pt x="192" y="155"/>
                        <a:pt x="192" y="155"/>
                      </a:cubicBezTo>
                      <a:cubicBezTo>
                        <a:pt x="184" y="145"/>
                        <a:pt x="174" y="137"/>
                        <a:pt x="163" y="131"/>
                      </a:cubicBezTo>
                      <a:cubicBezTo>
                        <a:pt x="160" y="129"/>
                        <a:pt x="156" y="127"/>
                        <a:pt x="152" y="126"/>
                      </a:cubicBezTo>
                      <a:cubicBezTo>
                        <a:pt x="127" y="115"/>
                        <a:pt x="99" y="115"/>
                        <a:pt x="73" y="126"/>
                      </a:cubicBezTo>
                      <a:cubicBezTo>
                        <a:pt x="67" y="128"/>
                        <a:pt x="61" y="132"/>
                        <a:pt x="55" y="135"/>
                      </a:cubicBezTo>
                      <a:cubicBezTo>
                        <a:pt x="39" y="147"/>
                        <a:pt x="25" y="163"/>
                        <a:pt x="18" y="182"/>
                      </a:cubicBezTo>
                      <a:cubicBezTo>
                        <a:pt x="17" y="182"/>
                        <a:pt x="17" y="182"/>
                        <a:pt x="17" y="182"/>
                      </a:cubicBezTo>
                      <a:cubicBezTo>
                        <a:pt x="0" y="223"/>
                        <a:pt x="12" y="271"/>
                        <a:pt x="46" y="300"/>
                      </a:cubicBezTo>
                      <a:cubicBezTo>
                        <a:pt x="49" y="302"/>
                        <a:pt x="52" y="304"/>
                        <a:pt x="55" y="306"/>
                      </a:cubicBezTo>
                      <a:cubicBezTo>
                        <a:pt x="61" y="310"/>
                        <a:pt x="67" y="314"/>
                        <a:pt x="73" y="317"/>
                      </a:cubicBezTo>
                      <a:cubicBezTo>
                        <a:pt x="79" y="319"/>
                        <a:pt x="84" y="320"/>
                        <a:pt x="90" y="322"/>
                      </a:cubicBezTo>
                      <a:cubicBezTo>
                        <a:pt x="95" y="323"/>
                        <a:pt x="101" y="324"/>
                        <a:pt x="107" y="324"/>
                      </a:cubicBezTo>
                      <a:cubicBezTo>
                        <a:pt x="112" y="325"/>
                        <a:pt x="117" y="325"/>
                        <a:pt x="122" y="324"/>
                      </a:cubicBezTo>
                      <a:cubicBezTo>
                        <a:pt x="158" y="321"/>
                        <a:pt x="158" y="321"/>
                        <a:pt x="158" y="321"/>
                      </a:cubicBezTo>
                      <a:cubicBezTo>
                        <a:pt x="133" y="369"/>
                        <a:pt x="103" y="413"/>
                        <a:pt x="69" y="454"/>
                      </a:cubicBezTo>
                      <a:cubicBezTo>
                        <a:pt x="63" y="460"/>
                        <a:pt x="58" y="467"/>
                        <a:pt x="52" y="473"/>
                      </a:cubicBezTo>
                      <a:cubicBezTo>
                        <a:pt x="843" y="1264"/>
                        <a:pt x="843" y="1264"/>
                        <a:pt x="843" y="1264"/>
                      </a:cubicBezTo>
                      <a:cubicBezTo>
                        <a:pt x="849" y="1258"/>
                        <a:pt x="855" y="1252"/>
                        <a:pt x="861" y="1246"/>
                      </a:cubicBezTo>
                      <a:cubicBezTo>
                        <a:pt x="1161" y="923"/>
                        <a:pt x="1349" y="497"/>
                        <a:pt x="1366" y="26"/>
                      </a:cubicBezTo>
                      <a:cubicBezTo>
                        <a:pt x="1367" y="17"/>
                        <a:pt x="1367" y="9"/>
                        <a:pt x="1367" y="0"/>
                      </a:cubicBezTo>
                      <a:cubicBezTo>
                        <a:pt x="248" y="0"/>
                        <a:pt x="248" y="0"/>
                        <a:pt x="24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53">
                  <a:extLst>
                    <a:ext uri="{FF2B5EF4-FFF2-40B4-BE49-F238E27FC236}">
                      <a16:creationId xmlns:a16="http://schemas.microsoft.com/office/drawing/2014/main" id="{6D99C0C0-E3D4-4BFE-90AB-B34E18473BB6}"/>
                    </a:ext>
                  </a:extLst>
                </p:cNvPr>
                <p:cNvSpPr>
                  <a:spLocks/>
                </p:cNvSpPr>
                <p:nvPr/>
              </p:nvSpPr>
              <p:spPr bwMode="auto">
                <a:xfrm>
                  <a:off x="6662081" y="4094609"/>
                  <a:ext cx="1567607" cy="1450036"/>
                </a:xfrm>
                <a:custGeom>
                  <a:avLst/>
                  <a:gdLst>
                    <a:gd name="T0" fmla="*/ 1322 w 1322"/>
                    <a:gd name="T1" fmla="*/ 0 h 1223"/>
                    <a:gd name="T2" fmla="*/ 237 w 1322"/>
                    <a:gd name="T3" fmla="*/ 0 h 1223"/>
                    <a:gd name="T4" fmla="*/ 236 w 1322"/>
                    <a:gd name="T5" fmla="*/ 10 h 1223"/>
                    <a:gd name="T6" fmla="*/ 205 w 1322"/>
                    <a:gd name="T7" fmla="*/ 171 h 1223"/>
                    <a:gd name="T8" fmla="*/ 205 w 1322"/>
                    <a:gd name="T9" fmla="*/ 171 h 1223"/>
                    <a:gd name="T10" fmla="*/ 196 w 1322"/>
                    <a:gd name="T11" fmla="*/ 202 h 1223"/>
                    <a:gd name="T12" fmla="*/ 196 w 1322"/>
                    <a:gd name="T13" fmla="*/ 201 h 1223"/>
                    <a:gd name="T14" fmla="*/ 196 w 1322"/>
                    <a:gd name="T15" fmla="*/ 202 h 1223"/>
                    <a:gd name="T16" fmla="*/ 157 w 1322"/>
                    <a:gd name="T17" fmla="*/ 155 h 1223"/>
                    <a:gd name="T18" fmla="*/ 152 w 1322"/>
                    <a:gd name="T19" fmla="*/ 149 h 1223"/>
                    <a:gd name="T20" fmla="*/ 148 w 1322"/>
                    <a:gd name="T21" fmla="*/ 145 h 1223"/>
                    <a:gd name="T22" fmla="*/ 128 w 1322"/>
                    <a:gd name="T23" fmla="*/ 129 h 1223"/>
                    <a:gd name="T24" fmla="*/ 119 w 1322"/>
                    <a:gd name="T25" fmla="*/ 125 h 1223"/>
                    <a:gd name="T26" fmla="*/ 86 w 1322"/>
                    <a:gd name="T27" fmla="*/ 118 h 1223"/>
                    <a:gd name="T28" fmla="*/ 53 w 1322"/>
                    <a:gd name="T29" fmla="*/ 125 h 1223"/>
                    <a:gd name="T30" fmla="*/ 52 w 1322"/>
                    <a:gd name="T31" fmla="*/ 125 h 1223"/>
                    <a:gd name="T32" fmla="*/ 38 w 1322"/>
                    <a:gd name="T33" fmla="*/ 133 h 1223"/>
                    <a:gd name="T34" fmla="*/ 6 w 1322"/>
                    <a:gd name="T35" fmla="*/ 171 h 1223"/>
                    <a:gd name="T36" fmla="*/ 6 w 1322"/>
                    <a:gd name="T37" fmla="*/ 171 h 1223"/>
                    <a:gd name="T38" fmla="*/ 0 w 1322"/>
                    <a:gd name="T39" fmla="*/ 204 h 1223"/>
                    <a:gd name="T40" fmla="*/ 30 w 1322"/>
                    <a:gd name="T41" fmla="*/ 270 h 1223"/>
                    <a:gd name="T42" fmla="*/ 30 w 1322"/>
                    <a:gd name="T43" fmla="*/ 270 h 1223"/>
                    <a:gd name="T44" fmla="*/ 37 w 1322"/>
                    <a:gd name="T45" fmla="*/ 274 h 1223"/>
                    <a:gd name="T46" fmla="*/ 53 w 1322"/>
                    <a:gd name="T47" fmla="*/ 284 h 1223"/>
                    <a:gd name="T48" fmla="*/ 55 w 1322"/>
                    <a:gd name="T49" fmla="*/ 284 h 1223"/>
                    <a:gd name="T50" fmla="*/ 67 w 1322"/>
                    <a:gd name="T51" fmla="*/ 288 h 1223"/>
                    <a:gd name="T52" fmla="*/ 67 w 1322"/>
                    <a:gd name="T53" fmla="*/ 288 h 1223"/>
                    <a:gd name="T54" fmla="*/ 80 w 1322"/>
                    <a:gd name="T55" fmla="*/ 290 h 1223"/>
                    <a:gd name="T56" fmla="*/ 81 w 1322"/>
                    <a:gd name="T57" fmla="*/ 290 h 1223"/>
                    <a:gd name="T58" fmla="*/ 81 w 1322"/>
                    <a:gd name="T59" fmla="*/ 290 h 1223"/>
                    <a:gd name="T60" fmla="*/ 87 w 1322"/>
                    <a:gd name="T61" fmla="*/ 290 h 1223"/>
                    <a:gd name="T62" fmla="*/ 89 w 1322"/>
                    <a:gd name="T63" fmla="*/ 290 h 1223"/>
                    <a:gd name="T64" fmla="*/ 94 w 1322"/>
                    <a:gd name="T65" fmla="*/ 290 h 1223"/>
                    <a:gd name="T66" fmla="*/ 162 w 1322"/>
                    <a:gd name="T67" fmla="*/ 284 h 1223"/>
                    <a:gd name="T68" fmla="*/ 147 w 1322"/>
                    <a:gd name="T69" fmla="*/ 312 h 1223"/>
                    <a:gd name="T70" fmla="*/ 147 w 1322"/>
                    <a:gd name="T71" fmla="*/ 312 h 1223"/>
                    <a:gd name="T72" fmla="*/ 121 w 1322"/>
                    <a:gd name="T73" fmla="*/ 356 h 1223"/>
                    <a:gd name="T74" fmla="*/ 55 w 1322"/>
                    <a:gd name="T75" fmla="*/ 448 h 1223"/>
                    <a:gd name="T76" fmla="*/ 49 w 1322"/>
                    <a:gd name="T77" fmla="*/ 455 h 1223"/>
                    <a:gd name="T78" fmla="*/ 816 w 1322"/>
                    <a:gd name="T79" fmla="*/ 1223 h 1223"/>
                    <a:gd name="T80" fmla="*/ 819 w 1322"/>
                    <a:gd name="T81" fmla="*/ 1220 h 1223"/>
                    <a:gd name="T82" fmla="*/ 821 w 1322"/>
                    <a:gd name="T83" fmla="*/ 1217 h 1223"/>
                    <a:gd name="T84" fmla="*/ 911 w 1322"/>
                    <a:gd name="T85" fmla="*/ 1114 h 1223"/>
                    <a:gd name="T86" fmla="*/ 1108 w 1322"/>
                    <a:gd name="T87" fmla="*/ 813 h 1223"/>
                    <a:gd name="T88" fmla="*/ 1181 w 1322"/>
                    <a:gd name="T89" fmla="*/ 657 h 1223"/>
                    <a:gd name="T90" fmla="*/ 1321 w 1322"/>
                    <a:gd name="T91" fmla="*/ 37 h 1223"/>
                    <a:gd name="T92" fmla="*/ 1322 w 1322"/>
                    <a:gd name="T93" fmla="*/ 8 h 1223"/>
                    <a:gd name="T94" fmla="*/ 1322 w 1322"/>
                    <a:gd name="T95" fmla="*/ 8 h 1223"/>
                    <a:gd name="T96" fmla="*/ 1322 w 1322"/>
                    <a:gd name="T97" fmla="*/ 3 h 1223"/>
                    <a:gd name="T98" fmla="*/ 1322 w 1322"/>
                    <a:gd name="T99" fmla="*/ 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2" h="1223">
                      <a:moveTo>
                        <a:pt x="1322" y="0"/>
                      </a:moveTo>
                      <a:cubicBezTo>
                        <a:pt x="237" y="0"/>
                        <a:pt x="237" y="0"/>
                        <a:pt x="237" y="0"/>
                      </a:cubicBezTo>
                      <a:cubicBezTo>
                        <a:pt x="237" y="4"/>
                        <a:pt x="237" y="7"/>
                        <a:pt x="236" y="10"/>
                      </a:cubicBezTo>
                      <a:cubicBezTo>
                        <a:pt x="231" y="65"/>
                        <a:pt x="221" y="119"/>
                        <a:pt x="205" y="171"/>
                      </a:cubicBezTo>
                      <a:cubicBezTo>
                        <a:pt x="205" y="171"/>
                        <a:pt x="205" y="171"/>
                        <a:pt x="205" y="171"/>
                      </a:cubicBezTo>
                      <a:cubicBezTo>
                        <a:pt x="196" y="202"/>
                        <a:pt x="196" y="202"/>
                        <a:pt x="196" y="202"/>
                      </a:cubicBezTo>
                      <a:cubicBezTo>
                        <a:pt x="196" y="201"/>
                        <a:pt x="196" y="201"/>
                        <a:pt x="196" y="201"/>
                      </a:cubicBezTo>
                      <a:cubicBezTo>
                        <a:pt x="196" y="202"/>
                        <a:pt x="196" y="202"/>
                        <a:pt x="196" y="202"/>
                      </a:cubicBezTo>
                      <a:cubicBezTo>
                        <a:pt x="157" y="155"/>
                        <a:pt x="157" y="155"/>
                        <a:pt x="157" y="155"/>
                      </a:cubicBezTo>
                      <a:cubicBezTo>
                        <a:pt x="152" y="149"/>
                        <a:pt x="152" y="149"/>
                        <a:pt x="152" y="149"/>
                      </a:cubicBezTo>
                      <a:cubicBezTo>
                        <a:pt x="151" y="148"/>
                        <a:pt x="149" y="146"/>
                        <a:pt x="148" y="145"/>
                      </a:cubicBezTo>
                      <a:cubicBezTo>
                        <a:pt x="142" y="139"/>
                        <a:pt x="136" y="133"/>
                        <a:pt x="128" y="129"/>
                      </a:cubicBezTo>
                      <a:cubicBezTo>
                        <a:pt x="125" y="128"/>
                        <a:pt x="122" y="126"/>
                        <a:pt x="119" y="125"/>
                      </a:cubicBezTo>
                      <a:cubicBezTo>
                        <a:pt x="108" y="120"/>
                        <a:pt x="97" y="118"/>
                        <a:pt x="86" y="118"/>
                      </a:cubicBezTo>
                      <a:cubicBezTo>
                        <a:pt x="75" y="118"/>
                        <a:pt x="64" y="120"/>
                        <a:pt x="53" y="125"/>
                      </a:cubicBezTo>
                      <a:cubicBezTo>
                        <a:pt x="53" y="125"/>
                        <a:pt x="52" y="125"/>
                        <a:pt x="52" y="125"/>
                      </a:cubicBezTo>
                      <a:cubicBezTo>
                        <a:pt x="47" y="127"/>
                        <a:pt x="42" y="130"/>
                        <a:pt x="38" y="133"/>
                      </a:cubicBezTo>
                      <a:cubicBezTo>
                        <a:pt x="24" y="142"/>
                        <a:pt x="13" y="155"/>
                        <a:pt x="6" y="171"/>
                      </a:cubicBezTo>
                      <a:cubicBezTo>
                        <a:pt x="6" y="171"/>
                        <a:pt x="6" y="171"/>
                        <a:pt x="6" y="171"/>
                      </a:cubicBezTo>
                      <a:cubicBezTo>
                        <a:pt x="2" y="182"/>
                        <a:pt x="0" y="193"/>
                        <a:pt x="0" y="204"/>
                      </a:cubicBezTo>
                      <a:cubicBezTo>
                        <a:pt x="0" y="229"/>
                        <a:pt x="10" y="253"/>
                        <a:pt x="30" y="270"/>
                      </a:cubicBezTo>
                      <a:cubicBezTo>
                        <a:pt x="30" y="270"/>
                        <a:pt x="30" y="270"/>
                        <a:pt x="30" y="270"/>
                      </a:cubicBezTo>
                      <a:cubicBezTo>
                        <a:pt x="32" y="271"/>
                        <a:pt x="34" y="273"/>
                        <a:pt x="37" y="274"/>
                      </a:cubicBezTo>
                      <a:cubicBezTo>
                        <a:pt x="43" y="279"/>
                        <a:pt x="48" y="282"/>
                        <a:pt x="53" y="284"/>
                      </a:cubicBezTo>
                      <a:cubicBezTo>
                        <a:pt x="54" y="284"/>
                        <a:pt x="54" y="284"/>
                        <a:pt x="55" y="284"/>
                      </a:cubicBezTo>
                      <a:cubicBezTo>
                        <a:pt x="58" y="286"/>
                        <a:pt x="62" y="287"/>
                        <a:pt x="67" y="288"/>
                      </a:cubicBezTo>
                      <a:cubicBezTo>
                        <a:pt x="67" y="288"/>
                        <a:pt x="67" y="288"/>
                        <a:pt x="67" y="288"/>
                      </a:cubicBezTo>
                      <a:cubicBezTo>
                        <a:pt x="71" y="289"/>
                        <a:pt x="76" y="290"/>
                        <a:pt x="80" y="290"/>
                      </a:cubicBezTo>
                      <a:cubicBezTo>
                        <a:pt x="81" y="290"/>
                        <a:pt x="81" y="290"/>
                        <a:pt x="81" y="290"/>
                      </a:cubicBezTo>
                      <a:cubicBezTo>
                        <a:pt x="81" y="290"/>
                        <a:pt x="81" y="290"/>
                        <a:pt x="81" y="290"/>
                      </a:cubicBezTo>
                      <a:cubicBezTo>
                        <a:pt x="83" y="290"/>
                        <a:pt x="85" y="290"/>
                        <a:pt x="87" y="290"/>
                      </a:cubicBezTo>
                      <a:cubicBezTo>
                        <a:pt x="88" y="290"/>
                        <a:pt x="88" y="290"/>
                        <a:pt x="89" y="290"/>
                      </a:cubicBezTo>
                      <a:cubicBezTo>
                        <a:pt x="91" y="290"/>
                        <a:pt x="92" y="290"/>
                        <a:pt x="94" y="290"/>
                      </a:cubicBezTo>
                      <a:cubicBezTo>
                        <a:pt x="162" y="284"/>
                        <a:pt x="162" y="284"/>
                        <a:pt x="162" y="284"/>
                      </a:cubicBezTo>
                      <a:cubicBezTo>
                        <a:pt x="147" y="312"/>
                        <a:pt x="147" y="312"/>
                        <a:pt x="147" y="312"/>
                      </a:cubicBezTo>
                      <a:cubicBezTo>
                        <a:pt x="147" y="312"/>
                        <a:pt x="147" y="312"/>
                        <a:pt x="147" y="312"/>
                      </a:cubicBezTo>
                      <a:cubicBezTo>
                        <a:pt x="139" y="327"/>
                        <a:pt x="130" y="341"/>
                        <a:pt x="121" y="356"/>
                      </a:cubicBezTo>
                      <a:cubicBezTo>
                        <a:pt x="102" y="388"/>
                        <a:pt x="79" y="419"/>
                        <a:pt x="55" y="448"/>
                      </a:cubicBezTo>
                      <a:cubicBezTo>
                        <a:pt x="53" y="450"/>
                        <a:pt x="51" y="453"/>
                        <a:pt x="49" y="455"/>
                      </a:cubicBezTo>
                      <a:cubicBezTo>
                        <a:pt x="816" y="1223"/>
                        <a:pt x="816" y="1223"/>
                        <a:pt x="816" y="1223"/>
                      </a:cubicBezTo>
                      <a:cubicBezTo>
                        <a:pt x="817" y="1222"/>
                        <a:pt x="818" y="1221"/>
                        <a:pt x="819" y="1220"/>
                      </a:cubicBezTo>
                      <a:cubicBezTo>
                        <a:pt x="820" y="1219"/>
                        <a:pt x="820" y="1218"/>
                        <a:pt x="821" y="1217"/>
                      </a:cubicBezTo>
                      <a:cubicBezTo>
                        <a:pt x="852" y="1183"/>
                        <a:pt x="882" y="1149"/>
                        <a:pt x="911" y="1114"/>
                      </a:cubicBezTo>
                      <a:cubicBezTo>
                        <a:pt x="986" y="1020"/>
                        <a:pt x="1052" y="919"/>
                        <a:pt x="1108" y="813"/>
                      </a:cubicBezTo>
                      <a:cubicBezTo>
                        <a:pt x="1135" y="762"/>
                        <a:pt x="1159" y="710"/>
                        <a:pt x="1181" y="657"/>
                      </a:cubicBezTo>
                      <a:cubicBezTo>
                        <a:pt x="1263" y="460"/>
                        <a:pt x="1310" y="251"/>
                        <a:pt x="1321" y="37"/>
                      </a:cubicBezTo>
                      <a:cubicBezTo>
                        <a:pt x="1321" y="27"/>
                        <a:pt x="1322" y="18"/>
                        <a:pt x="1322" y="8"/>
                      </a:cubicBezTo>
                      <a:cubicBezTo>
                        <a:pt x="1322" y="8"/>
                        <a:pt x="1322" y="8"/>
                        <a:pt x="1322" y="8"/>
                      </a:cubicBezTo>
                      <a:cubicBezTo>
                        <a:pt x="1322" y="6"/>
                        <a:pt x="1322" y="5"/>
                        <a:pt x="1322" y="3"/>
                      </a:cubicBezTo>
                      <a:cubicBezTo>
                        <a:pt x="1322" y="2"/>
                        <a:pt x="1322" y="1"/>
                        <a:pt x="1322"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56">
                  <a:extLst>
                    <a:ext uri="{FF2B5EF4-FFF2-40B4-BE49-F238E27FC236}">
                      <a16:creationId xmlns:a16="http://schemas.microsoft.com/office/drawing/2014/main" id="{5D5E2D6F-14A2-4DB5-AC6F-E79407CD33BE}"/>
                    </a:ext>
                  </a:extLst>
                </p:cNvPr>
                <p:cNvSpPr>
                  <a:spLocks/>
                </p:cNvSpPr>
                <p:nvPr/>
              </p:nvSpPr>
              <p:spPr bwMode="auto">
                <a:xfrm>
                  <a:off x="6058262" y="4655609"/>
                  <a:ext cx="1499387" cy="1611151"/>
                </a:xfrm>
                <a:custGeom>
                  <a:avLst/>
                  <a:gdLst>
                    <a:gd name="T0" fmla="*/ 473 w 1264"/>
                    <a:gd name="T1" fmla="*/ 44 h 1359"/>
                    <a:gd name="T2" fmla="*/ 454 w 1264"/>
                    <a:gd name="T3" fmla="*/ 61 h 1359"/>
                    <a:gd name="T4" fmla="*/ 321 w 1264"/>
                    <a:gd name="T5" fmla="*/ 150 h 1359"/>
                    <a:gd name="T6" fmla="*/ 324 w 1264"/>
                    <a:gd name="T7" fmla="*/ 114 h 1359"/>
                    <a:gd name="T8" fmla="*/ 321 w 1264"/>
                    <a:gd name="T9" fmla="*/ 77 h 1359"/>
                    <a:gd name="T10" fmla="*/ 317 w 1264"/>
                    <a:gd name="T11" fmla="*/ 65 h 1359"/>
                    <a:gd name="T12" fmla="*/ 261 w 1264"/>
                    <a:gd name="T13" fmla="*/ 10 h 1359"/>
                    <a:gd name="T14" fmla="*/ 241 w 1264"/>
                    <a:gd name="T15" fmla="*/ 4 h 1359"/>
                    <a:gd name="T16" fmla="*/ 182 w 1264"/>
                    <a:gd name="T17" fmla="*/ 10 h 1359"/>
                    <a:gd name="T18" fmla="*/ 182 w 1264"/>
                    <a:gd name="T19" fmla="*/ 10 h 1359"/>
                    <a:gd name="T20" fmla="*/ 118 w 1264"/>
                    <a:gd name="T21" fmla="*/ 113 h 1359"/>
                    <a:gd name="T22" fmla="*/ 120 w 1264"/>
                    <a:gd name="T23" fmla="*/ 124 h 1359"/>
                    <a:gd name="T24" fmla="*/ 126 w 1264"/>
                    <a:gd name="T25" fmla="*/ 144 h 1359"/>
                    <a:gd name="T26" fmla="*/ 134 w 1264"/>
                    <a:gd name="T27" fmla="*/ 160 h 1359"/>
                    <a:gd name="T28" fmla="*/ 144 w 1264"/>
                    <a:gd name="T29" fmla="*/ 173 h 1359"/>
                    <a:gd name="T30" fmla="*/ 155 w 1264"/>
                    <a:gd name="T31" fmla="*/ 184 h 1359"/>
                    <a:gd name="T32" fmla="*/ 183 w 1264"/>
                    <a:gd name="T33" fmla="*/ 207 h 1359"/>
                    <a:gd name="T34" fmla="*/ 26 w 1264"/>
                    <a:gd name="T35" fmla="*/ 238 h 1359"/>
                    <a:gd name="T36" fmla="*/ 0 w 1264"/>
                    <a:gd name="T37" fmla="*/ 240 h 1359"/>
                    <a:gd name="T38" fmla="*/ 0 w 1264"/>
                    <a:gd name="T39" fmla="*/ 1359 h 1359"/>
                    <a:gd name="T40" fmla="*/ 26 w 1264"/>
                    <a:gd name="T41" fmla="*/ 1358 h 1359"/>
                    <a:gd name="T42" fmla="*/ 1246 w 1264"/>
                    <a:gd name="T43" fmla="*/ 853 h 1359"/>
                    <a:gd name="T44" fmla="*/ 1264 w 1264"/>
                    <a:gd name="T45" fmla="*/ 835 h 1359"/>
                    <a:gd name="T46" fmla="*/ 473 w 1264"/>
                    <a:gd name="T47" fmla="*/ 44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4" h="1359">
                      <a:moveTo>
                        <a:pt x="473" y="44"/>
                      </a:moveTo>
                      <a:cubicBezTo>
                        <a:pt x="467" y="50"/>
                        <a:pt x="460" y="55"/>
                        <a:pt x="454" y="61"/>
                      </a:cubicBezTo>
                      <a:cubicBezTo>
                        <a:pt x="413" y="95"/>
                        <a:pt x="369" y="125"/>
                        <a:pt x="321" y="150"/>
                      </a:cubicBezTo>
                      <a:cubicBezTo>
                        <a:pt x="324" y="114"/>
                        <a:pt x="324" y="114"/>
                        <a:pt x="324" y="114"/>
                      </a:cubicBezTo>
                      <a:cubicBezTo>
                        <a:pt x="325" y="102"/>
                        <a:pt x="324" y="89"/>
                        <a:pt x="321" y="77"/>
                      </a:cubicBezTo>
                      <a:cubicBezTo>
                        <a:pt x="319" y="73"/>
                        <a:pt x="318" y="69"/>
                        <a:pt x="317" y="65"/>
                      </a:cubicBezTo>
                      <a:cubicBezTo>
                        <a:pt x="306" y="40"/>
                        <a:pt x="286" y="20"/>
                        <a:pt x="261" y="10"/>
                      </a:cubicBezTo>
                      <a:cubicBezTo>
                        <a:pt x="254" y="7"/>
                        <a:pt x="248" y="5"/>
                        <a:pt x="241" y="4"/>
                      </a:cubicBezTo>
                      <a:cubicBezTo>
                        <a:pt x="221" y="0"/>
                        <a:pt x="201" y="2"/>
                        <a:pt x="182" y="10"/>
                      </a:cubicBezTo>
                      <a:cubicBezTo>
                        <a:pt x="182" y="10"/>
                        <a:pt x="182" y="10"/>
                        <a:pt x="182" y="10"/>
                      </a:cubicBezTo>
                      <a:cubicBezTo>
                        <a:pt x="140" y="27"/>
                        <a:pt x="115" y="68"/>
                        <a:pt x="118" y="113"/>
                      </a:cubicBezTo>
                      <a:cubicBezTo>
                        <a:pt x="119" y="117"/>
                        <a:pt x="119" y="120"/>
                        <a:pt x="120" y="124"/>
                      </a:cubicBezTo>
                      <a:cubicBezTo>
                        <a:pt x="121" y="131"/>
                        <a:pt x="123" y="138"/>
                        <a:pt x="126" y="144"/>
                      </a:cubicBezTo>
                      <a:cubicBezTo>
                        <a:pt x="128" y="150"/>
                        <a:pt x="131" y="155"/>
                        <a:pt x="134" y="160"/>
                      </a:cubicBezTo>
                      <a:cubicBezTo>
                        <a:pt x="137" y="164"/>
                        <a:pt x="140" y="169"/>
                        <a:pt x="144" y="173"/>
                      </a:cubicBezTo>
                      <a:cubicBezTo>
                        <a:pt x="147" y="177"/>
                        <a:pt x="151" y="181"/>
                        <a:pt x="155" y="184"/>
                      </a:cubicBezTo>
                      <a:cubicBezTo>
                        <a:pt x="183" y="207"/>
                        <a:pt x="183" y="207"/>
                        <a:pt x="183" y="207"/>
                      </a:cubicBezTo>
                      <a:cubicBezTo>
                        <a:pt x="131" y="223"/>
                        <a:pt x="78" y="233"/>
                        <a:pt x="26" y="238"/>
                      </a:cubicBezTo>
                      <a:cubicBezTo>
                        <a:pt x="17" y="239"/>
                        <a:pt x="9" y="239"/>
                        <a:pt x="0" y="240"/>
                      </a:cubicBezTo>
                      <a:cubicBezTo>
                        <a:pt x="0" y="1359"/>
                        <a:pt x="0" y="1359"/>
                        <a:pt x="0" y="1359"/>
                      </a:cubicBezTo>
                      <a:cubicBezTo>
                        <a:pt x="9" y="1358"/>
                        <a:pt x="17" y="1359"/>
                        <a:pt x="26" y="1358"/>
                      </a:cubicBezTo>
                      <a:cubicBezTo>
                        <a:pt x="466" y="1342"/>
                        <a:pt x="901" y="1174"/>
                        <a:pt x="1246" y="853"/>
                      </a:cubicBezTo>
                      <a:cubicBezTo>
                        <a:pt x="1252" y="847"/>
                        <a:pt x="1258" y="841"/>
                        <a:pt x="1264" y="835"/>
                      </a:cubicBezTo>
                      <a:cubicBezTo>
                        <a:pt x="473" y="44"/>
                        <a:pt x="473" y="44"/>
                        <a:pt x="473" y="4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7">
                  <a:extLst>
                    <a:ext uri="{FF2B5EF4-FFF2-40B4-BE49-F238E27FC236}">
                      <a16:creationId xmlns:a16="http://schemas.microsoft.com/office/drawing/2014/main" id="{2361F51F-8EFF-4D5B-8538-093615D81716}"/>
                    </a:ext>
                  </a:extLst>
                </p:cNvPr>
                <p:cNvSpPr>
                  <a:spLocks/>
                </p:cNvSpPr>
                <p:nvPr/>
              </p:nvSpPr>
              <p:spPr bwMode="auto">
                <a:xfrm>
                  <a:off x="6078583" y="4678107"/>
                  <a:ext cx="1450036" cy="1566881"/>
                </a:xfrm>
                <a:custGeom>
                  <a:avLst/>
                  <a:gdLst>
                    <a:gd name="T0" fmla="*/ 204 w 1223"/>
                    <a:gd name="T1" fmla="*/ 0 h 1322"/>
                    <a:gd name="T2" fmla="*/ 171 w 1223"/>
                    <a:gd name="T3" fmla="*/ 6 h 1322"/>
                    <a:gd name="T4" fmla="*/ 133 w 1223"/>
                    <a:gd name="T5" fmla="*/ 37 h 1322"/>
                    <a:gd name="T6" fmla="*/ 118 w 1223"/>
                    <a:gd name="T7" fmla="*/ 86 h 1322"/>
                    <a:gd name="T8" fmla="*/ 118 w 1223"/>
                    <a:gd name="T9" fmla="*/ 93 h 1322"/>
                    <a:gd name="T10" fmla="*/ 118 w 1223"/>
                    <a:gd name="T11" fmla="*/ 93 h 1322"/>
                    <a:gd name="T12" fmla="*/ 120 w 1223"/>
                    <a:gd name="T13" fmla="*/ 101 h 1322"/>
                    <a:gd name="T14" fmla="*/ 125 w 1223"/>
                    <a:gd name="T15" fmla="*/ 119 h 1322"/>
                    <a:gd name="T16" fmla="*/ 131 w 1223"/>
                    <a:gd name="T17" fmla="*/ 131 h 1322"/>
                    <a:gd name="T18" fmla="*/ 140 w 1223"/>
                    <a:gd name="T19" fmla="*/ 143 h 1322"/>
                    <a:gd name="T20" fmla="*/ 149 w 1223"/>
                    <a:gd name="T21" fmla="*/ 152 h 1322"/>
                    <a:gd name="T22" fmla="*/ 202 w 1223"/>
                    <a:gd name="T23" fmla="*/ 196 h 1322"/>
                    <a:gd name="T24" fmla="*/ 171 w 1223"/>
                    <a:gd name="T25" fmla="*/ 205 h 1322"/>
                    <a:gd name="T26" fmla="*/ 10 w 1223"/>
                    <a:gd name="T27" fmla="*/ 236 h 1322"/>
                    <a:gd name="T28" fmla="*/ 10 w 1223"/>
                    <a:gd name="T29" fmla="*/ 236 h 1322"/>
                    <a:gd name="T30" fmla="*/ 6 w 1223"/>
                    <a:gd name="T31" fmla="*/ 237 h 1322"/>
                    <a:gd name="T32" fmla="*/ 0 w 1223"/>
                    <a:gd name="T33" fmla="*/ 237 h 1322"/>
                    <a:gd name="T34" fmla="*/ 0 w 1223"/>
                    <a:gd name="T35" fmla="*/ 1322 h 1322"/>
                    <a:gd name="T36" fmla="*/ 1 w 1223"/>
                    <a:gd name="T37" fmla="*/ 1322 h 1322"/>
                    <a:gd name="T38" fmla="*/ 8 w 1223"/>
                    <a:gd name="T39" fmla="*/ 1322 h 1322"/>
                    <a:gd name="T40" fmla="*/ 335 w 1223"/>
                    <a:gd name="T41" fmla="*/ 1282 h 1322"/>
                    <a:gd name="T42" fmla="*/ 658 w 1223"/>
                    <a:gd name="T43" fmla="*/ 1181 h 1322"/>
                    <a:gd name="T44" fmla="*/ 1217 w 1223"/>
                    <a:gd name="T45" fmla="*/ 821 h 1322"/>
                    <a:gd name="T46" fmla="*/ 1223 w 1223"/>
                    <a:gd name="T47" fmla="*/ 816 h 1322"/>
                    <a:gd name="T48" fmla="*/ 455 w 1223"/>
                    <a:gd name="T49" fmla="*/ 48 h 1322"/>
                    <a:gd name="T50" fmla="*/ 455 w 1223"/>
                    <a:gd name="T51" fmla="*/ 48 h 1322"/>
                    <a:gd name="T52" fmla="*/ 448 w 1223"/>
                    <a:gd name="T53" fmla="*/ 55 h 1322"/>
                    <a:gd name="T54" fmla="*/ 362 w 1223"/>
                    <a:gd name="T55" fmla="*/ 118 h 1322"/>
                    <a:gd name="T56" fmla="*/ 312 w 1223"/>
                    <a:gd name="T57" fmla="*/ 147 h 1322"/>
                    <a:gd name="T58" fmla="*/ 284 w 1223"/>
                    <a:gd name="T59" fmla="*/ 162 h 1322"/>
                    <a:gd name="T60" fmla="*/ 290 w 1223"/>
                    <a:gd name="T61" fmla="*/ 94 h 1322"/>
                    <a:gd name="T62" fmla="*/ 290 w 1223"/>
                    <a:gd name="T63" fmla="*/ 81 h 1322"/>
                    <a:gd name="T64" fmla="*/ 287 w 1223"/>
                    <a:gd name="T65" fmla="*/ 63 h 1322"/>
                    <a:gd name="T66" fmla="*/ 284 w 1223"/>
                    <a:gd name="T67" fmla="*/ 53 h 1322"/>
                    <a:gd name="T68" fmla="*/ 237 w 1223"/>
                    <a:gd name="T69" fmla="*/ 6 h 1322"/>
                    <a:gd name="T70" fmla="*/ 221 w 1223"/>
                    <a:gd name="T71" fmla="*/ 1 h 1322"/>
                    <a:gd name="T72" fmla="*/ 208 w 1223"/>
                    <a:gd name="T73" fmla="*/ 0 h 1322"/>
                    <a:gd name="T74" fmla="*/ 204 w 1223"/>
                    <a:gd name="T75" fmla="*/ 0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3" h="1322">
                      <a:moveTo>
                        <a:pt x="204" y="0"/>
                      </a:moveTo>
                      <a:cubicBezTo>
                        <a:pt x="193" y="0"/>
                        <a:pt x="182" y="2"/>
                        <a:pt x="171" y="6"/>
                      </a:cubicBezTo>
                      <a:cubicBezTo>
                        <a:pt x="155" y="13"/>
                        <a:pt x="142" y="24"/>
                        <a:pt x="133" y="37"/>
                      </a:cubicBezTo>
                      <a:cubicBezTo>
                        <a:pt x="124" y="51"/>
                        <a:pt x="118" y="68"/>
                        <a:pt x="118" y="86"/>
                      </a:cubicBezTo>
                      <a:cubicBezTo>
                        <a:pt x="118" y="88"/>
                        <a:pt x="118" y="91"/>
                        <a:pt x="118" y="93"/>
                      </a:cubicBezTo>
                      <a:cubicBezTo>
                        <a:pt x="118" y="93"/>
                        <a:pt x="118" y="93"/>
                        <a:pt x="118" y="93"/>
                      </a:cubicBezTo>
                      <a:cubicBezTo>
                        <a:pt x="119" y="95"/>
                        <a:pt x="119" y="98"/>
                        <a:pt x="120" y="101"/>
                      </a:cubicBezTo>
                      <a:cubicBezTo>
                        <a:pt x="121" y="109"/>
                        <a:pt x="123" y="114"/>
                        <a:pt x="125" y="119"/>
                      </a:cubicBezTo>
                      <a:cubicBezTo>
                        <a:pt x="126" y="123"/>
                        <a:pt x="128" y="127"/>
                        <a:pt x="131" y="131"/>
                      </a:cubicBezTo>
                      <a:cubicBezTo>
                        <a:pt x="134" y="136"/>
                        <a:pt x="137" y="139"/>
                        <a:pt x="140" y="143"/>
                      </a:cubicBezTo>
                      <a:cubicBezTo>
                        <a:pt x="143" y="147"/>
                        <a:pt x="146" y="150"/>
                        <a:pt x="149" y="152"/>
                      </a:cubicBezTo>
                      <a:cubicBezTo>
                        <a:pt x="202" y="196"/>
                        <a:pt x="202" y="196"/>
                        <a:pt x="202" y="196"/>
                      </a:cubicBezTo>
                      <a:cubicBezTo>
                        <a:pt x="171" y="205"/>
                        <a:pt x="171" y="205"/>
                        <a:pt x="171" y="205"/>
                      </a:cubicBezTo>
                      <a:cubicBezTo>
                        <a:pt x="119" y="221"/>
                        <a:pt x="65" y="231"/>
                        <a:pt x="10" y="236"/>
                      </a:cubicBezTo>
                      <a:cubicBezTo>
                        <a:pt x="10" y="236"/>
                        <a:pt x="10" y="236"/>
                        <a:pt x="10" y="236"/>
                      </a:cubicBezTo>
                      <a:cubicBezTo>
                        <a:pt x="9" y="236"/>
                        <a:pt x="7" y="237"/>
                        <a:pt x="6" y="237"/>
                      </a:cubicBezTo>
                      <a:cubicBezTo>
                        <a:pt x="4" y="237"/>
                        <a:pt x="2" y="237"/>
                        <a:pt x="0" y="237"/>
                      </a:cubicBezTo>
                      <a:cubicBezTo>
                        <a:pt x="0" y="1322"/>
                        <a:pt x="0" y="1322"/>
                        <a:pt x="0" y="1322"/>
                      </a:cubicBezTo>
                      <a:cubicBezTo>
                        <a:pt x="0" y="1322"/>
                        <a:pt x="0" y="1322"/>
                        <a:pt x="1" y="1322"/>
                      </a:cubicBezTo>
                      <a:cubicBezTo>
                        <a:pt x="3" y="1322"/>
                        <a:pt x="6" y="1322"/>
                        <a:pt x="8" y="1322"/>
                      </a:cubicBezTo>
                      <a:cubicBezTo>
                        <a:pt x="119" y="1318"/>
                        <a:pt x="228" y="1304"/>
                        <a:pt x="335" y="1282"/>
                      </a:cubicBezTo>
                      <a:cubicBezTo>
                        <a:pt x="445" y="1258"/>
                        <a:pt x="553" y="1224"/>
                        <a:pt x="658" y="1181"/>
                      </a:cubicBezTo>
                      <a:cubicBezTo>
                        <a:pt x="865" y="1095"/>
                        <a:pt x="1052" y="974"/>
                        <a:pt x="1217" y="821"/>
                      </a:cubicBezTo>
                      <a:cubicBezTo>
                        <a:pt x="1219" y="819"/>
                        <a:pt x="1221" y="818"/>
                        <a:pt x="1223" y="816"/>
                      </a:cubicBezTo>
                      <a:cubicBezTo>
                        <a:pt x="455" y="48"/>
                        <a:pt x="455" y="48"/>
                        <a:pt x="455" y="48"/>
                      </a:cubicBezTo>
                      <a:cubicBezTo>
                        <a:pt x="455" y="48"/>
                        <a:pt x="455" y="48"/>
                        <a:pt x="455" y="48"/>
                      </a:cubicBezTo>
                      <a:cubicBezTo>
                        <a:pt x="453" y="51"/>
                        <a:pt x="450" y="53"/>
                        <a:pt x="448" y="55"/>
                      </a:cubicBezTo>
                      <a:cubicBezTo>
                        <a:pt x="420" y="78"/>
                        <a:pt x="392" y="99"/>
                        <a:pt x="362" y="118"/>
                      </a:cubicBezTo>
                      <a:cubicBezTo>
                        <a:pt x="345" y="128"/>
                        <a:pt x="329" y="138"/>
                        <a:pt x="312" y="147"/>
                      </a:cubicBezTo>
                      <a:cubicBezTo>
                        <a:pt x="284" y="162"/>
                        <a:pt x="284" y="162"/>
                        <a:pt x="284" y="162"/>
                      </a:cubicBezTo>
                      <a:cubicBezTo>
                        <a:pt x="290" y="94"/>
                        <a:pt x="290" y="94"/>
                        <a:pt x="290" y="94"/>
                      </a:cubicBezTo>
                      <a:cubicBezTo>
                        <a:pt x="290" y="90"/>
                        <a:pt x="290" y="85"/>
                        <a:pt x="290" y="81"/>
                      </a:cubicBezTo>
                      <a:cubicBezTo>
                        <a:pt x="290" y="75"/>
                        <a:pt x="289" y="69"/>
                        <a:pt x="287" y="63"/>
                      </a:cubicBezTo>
                      <a:cubicBezTo>
                        <a:pt x="286" y="59"/>
                        <a:pt x="285" y="56"/>
                        <a:pt x="284" y="53"/>
                      </a:cubicBezTo>
                      <a:cubicBezTo>
                        <a:pt x="275" y="32"/>
                        <a:pt x="258" y="15"/>
                        <a:pt x="237" y="6"/>
                      </a:cubicBezTo>
                      <a:cubicBezTo>
                        <a:pt x="232" y="4"/>
                        <a:pt x="226" y="3"/>
                        <a:pt x="221" y="1"/>
                      </a:cubicBezTo>
                      <a:cubicBezTo>
                        <a:pt x="217" y="1"/>
                        <a:pt x="212" y="0"/>
                        <a:pt x="208" y="0"/>
                      </a:cubicBezTo>
                      <a:cubicBezTo>
                        <a:pt x="207" y="0"/>
                        <a:pt x="206" y="0"/>
                        <a:pt x="20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70">
                  <a:extLst>
                    <a:ext uri="{FF2B5EF4-FFF2-40B4-BE49-F238E27FC236}">
                      <a16:creationId xmlns:a16="http://schemas.microsoft.com/office/drawing/2014/main" id="{BA5E78A8-49E4-491F-A52D-7B37FA1B5E1E}"/>
                    </a:ext>
                  </a:extLst>
                </p:cNvPr>
                <p:cNvSpPr>
                  <a:spLocks/>
                </p:cNvSpPr>
                <p:nvPr/>
              </p:nvSpPr>
              <p:spPr bwMode="auto">
                <a:xfrm>
                  <a:off x="4457997" y="4646174"/>
                  <a:ext cx="1498661" cy="1620586"/>
                </a:xfrm>
                <a:custGeom>
                  <a:avLst/>
                  <a:gdLst>
                    <a:gd name="T0" fmla="*/ 1264 w 1264"/>
                    <a:gd name="T1" fmla="*/ 248 h 1367"/>
                    <a:gd name="T2" fmla="*/ 1238 w 1264"/>
                    <a:gd name="T3" fmla="*/ 246 h 1367"/>
                    <a:gd name="T4" fmla="*/ 1081 w 1264"/>
                    <a:gd name="T5" fmla="*/ 215 h 1367"/>
                    <a:gd name="T6" fmla="*/ 1109 w 1264"/>
                    <a:gd name="T7" fmla="*/ 192 h 1367"/>
                    <a:gd name="T8" fmla="*/ 1133 w 1264"/>
                    <a:gd name="T9" fmla="*/ 163 h 1367"/>
                    <a:gd name="T10" fmla="*/ 1138 w 1264"/>
                    <a:gd name="T11" fmla="*/ 152 h 1367"/>
                    <a:gd name="T12" fmla="*/ 1138 w 1264"/>
                    <a:gd name="T13" fmla="*/ 73 h 1367"/>
                    <a:gd name="T14" fmla="*/ 1129 w 1264"/>
                    <a:gd name="T15" fmla="*/ 55 h 1367"/>
                    <a:gd name="T16" fmla="*/ 1082 w 1264"/>
                    <a:gd name="T17" fmla="*/ 17 h 1367"/>
                    <a:gd name="T18" fmla="*/ 964 w 1264"/>
                    <a:gd name="T19" fmla="*/ 46 h 1367"/>
                    <a:gd name="T20" fmla="*/ 958 w 1264"/>
                    <a:gd name="T21" fmla="*/ 55 h 1367"/>
                    <a:gd name="T22" fmla="*/ 947 w 1264"/>
                    <a:gd name="T23" fmla="*/ 73 h 1367"/>
                    <a:gd name="T24" fmla="*/ 942 w 1264"/>
                    <a:gd name="T25" fmla="*/ 90 h 1367"/>
                    <a:gd name="T26" fmla="*/ 940 w 1264"/>
                    <a:gd name="T27" fmla="*/ 107 h 1367"/>
                    <a:gd name="T28" fmla="*/ 940 w 1264"/>
                    <a:gd name="T29" fmla="*/ 122 h 1367"/>
                    <a:gd name="T30" fmla="*/ 943 w 1264"/>
                    <a:gd name="T31" fmla="*/ 159 h 1367"/>
                    <a:gd name="T32" fmla="*/ 810 w 1264"/>
                    <a:gd name="T33" fmla="*/ 69 h 1367"/>
                    <a:gd name="T34" fmla="*/ 791 w 1264"/>
                    <a:gd name="T35" fmla="*/ 52 h 1367"/>
                    <a:gd name="T36" fmla="*/ 0 w 1264"/>
                    <a:gd name="T37" fmla="*/ 843 h 1367"/>
                    <a:gd name="T38" fmla="*/ 18 w 1264"/>
                    <a:gd name="T39" fmla="*/ 861 h 1367"/>
                    <a:gd name="T40" fmla="*/ 1238 w 1264"/>
                    <a:gd name="T41" fmla="*/ 1366 h 1367"/>
                    <a:gd name="T42" fmla="*/ 1264 w 1264"/>
                    <a:gd name="T43" fmla="*/ 1367 h 1367"/>
                    <a:gd name="T44" fmla="*/ 1264 w 1264"/>
                    <a:gd name="T45" fmla="*/ 248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64" h="1367">
                      <a:moveTo>
                        <a:pt x="1264" y="248"/>
                      </a:moveTo>
                      <a:cubicBezTo>
                        <a:pt x="1255" y="247"/>
                        <a:pt x="1247" y="247"/>
                        <a:pt x="1238" y="246"/>
                      </a:cubicBezTo>
                      <a:cubicBezTo>
                        <a:pt x="1186" y="241"/>
                        <a:pt x="1133" y="231"/>
                        <a:pt x="1081" y="215"/>
                      </a:cubicBezTo>
                      <a:cubicBezTo>
                        <a:pt x="1109" y="192"/>
                        <a:pt x="1109" y="192"/>
                        <a:pt x="1109" y="192"/>
                      </a:cubicBezTo>
                      <a:cubicBezTo>
                        <a:pt x="1119" y="184"/>
                        <a:pt x="1127" y="174"/>
                        <a:pt x="1133" y="163"/>
                      </a:cubicBezTo>
                      <a:cubicBezTo>
                        <a:pt x="1135" y="160"/>
                        <a:pt x="1137" y="156"/>
                        <a:pt x="1138" y="152"/>
                      </a:cubicBezTo>
                      <a:cubicBezTo>
                        <a:pt x="1149" y="127"/>
                        <a:pt x="1149" y="99"/>
                        <a:pt x="1138" y="73"/>
                      </a:cubicBezTo>
                      <a:cubicBezTo>
                        <a:pt x="1136" y="67"/>
                        <a:pt x="1132" y="61"/>
                        <a:pt x="1129" y="55"/>
                      </a:cubicBezTo>
                      <a:cubicBezTo>
                        <a:pt x="1117" y="39"/>
                        <a:pt x="1101" y="25"/>
                        <a:pt x="1082" y="17"/>
                      </a:cubicBezTo>
                      <a:cubicBezTo>
                        <a:pt x="1041" y="0"/>
                        <a:pt x="993" y="12"/>
                        <a:pt x="964" y="46"/>
                      </a:cubicBezTo>
                      <a:cubicBezTo>
                        <a:pt x="962" y="49"/>
                        <a:pt x="960" y="52"/>
                        <a:pt x="958" y="55"/>
                      </a:cubicBezTo>
                      <a:cubicBezTo>
                        <a:pt x="954" y="61"/>
                        <a:pt x="950" y="67"/>
                        <a:pt x="947" y="73"/>
                      </a:cubicBezTo>
                      <a:cubicBezTo>
                        <a:pt x="945" y="79"/>
                        <a:pt x="944" y="84"/>
                        <a:pt x="942" y="90"/>
                      </a:cubicBezTo>
                      <a:cubicBezTo>
                        <a:pt x="941" y="95"/>
                        <a:pt x="940" y="101"/>
                        <a:pt x="940" y="107"/>
                      </a:cubicBezTo>
                      <a:cubicBezTo>
                        <a:pt x="940" y="112"/>
                        <a:pt x="939" y="117"/>
                        <a:pt x="940" y="122"/>
                      </a:cubicBezTo>
                      <a:cubicBezTo>
                        <a:pt x="943" y="159"/>
                        <a:pt x="943" y="159"/>
                        <a:pt x="943" y="159"/>
                      </a:cubicBezTo>
                      <a:cubicBezTo>
                        <a:pt x="895" y="133"/>
                        <a:pt x="851" y="103"/>
                        <a:pt x="810" y="69"/>
                      </a:cubicBezTo>
                      <a:cubicBezTo>
                        <a:pt x="804" y="63"/>
                        <a:pt x="797" y="58"/>
                        <a:pt x="791" y="52"/>
                      </a:cubicBezTo>
                      <a:cubicBezTo>
                        <a:pt x="0" y="843"/>
                        <a:pt x="0" y="843"/>
                        <a:pt x="0" y="843"/>
                      </a:cubicBezTo>
                      <a:cubicBezTo>
                        <a:pt x="6" y="849"/>
                        <a:pt x="12" y="855"/>
                        <a:pt x="18" y="861"/>
                      </a:cubicBezTo>
                      <a:cubicBezTo>
                        <a:pt x="341" y="1161"/>
                        <a:pt x="767" y="1349"/>
                        <a:pt x="1238" y="1366"/>
                      </a:cubicBezTo>
                      <a:cubicBezTo>
                        <a:pt x="1247" y="1367"/>
                        <a:pt x="1255" y="1366"/>
                        <a:pt x="1264" y="1367"/>
                      </a:cubicBezTo>
                      <a:cubicBezTo>
                        <a:pt x="1264" y="248"/>
                        <a:pt x="1264" y="248"/>
                        <a:pt x="1264" y="2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88">
                  <a:extLst>
                    <a:ext uri="{FF2B5EF4-FFF2-40B4-BE49-F238E27FC236}">
                      <a16:creationId xmlns:a16="http://schemas.microsoft.com/office/drawing/2014/main" id="{118656EC-E4C7-4EA3-820E-C141A9A3F8E3}"/>
                    </a:ext>
                  </a:extLst>
                </p:cNvPr>
                <p:cNvSpPr>
                  <a:spLocks/>
                </p:cNvSpPr>
                <p:nvPr/>
              </p:nvSpPr>
              <p:spPr bwMode="auto">
                <a:xfrm>
                  <a:off x="4486301" y="4678107"/>
                  <a:ext cx="1450036" cy="1566881"/>
                </a:xfrm>
                <a:custGeom>
                  <a:avLst/>
                  <a:gdLst>
                    <a:gd name="T0" fmla="*/ 1019 w 1223"/>
                    <a:gd name="T1" fmla="*/ 0 h 1322"/>
                    <a:gd name="T2" fmla="*/ 1008 w 1223"/>
                    <a:gd name="T3" fmla="*/ 0 h 1322"/>
                    <a:gd name="T4" fmla="*/ 953 w 1223"/>
                    <a:gd name="T5" fmla="*/ 30 h 1322"/>
                    <a:gd name="T6" fmla="*/ 953 w 1223"/>
                    <a:gd name="T7" fmla="*/ 30 h 1322"/>
                    <a:gd name="T8" fmla="*/ 949 w 1223"/>
                    <a:gd name="T9" fmla="*/ 36 h 1322"/>
                    <a:gd name="T10" fmla="*/ 949 w 1223"/>
                    <a:gd name="T11" fmla="*/ 37 h 1322"/>
                    <a:gd name="T12" fmla="*/ 943 w 1223"/>
                    <a:gd name="T13" fmla="*/ 46 h 1322"/>
                    <a:gd name="T14" fmla="*/ 940 w 1223"/>
                    <a:gd name="T15" fmla="*/ 52 h 1322"/>
                    <a:gd name="T16" fmla="*/ 939 w 1223"/>
                    <a:gd name="T17" fmla="*/ 53 h 1322"/>
                    <a:gd name="T18" fmla="*/ 939 w 1223"/>
                    <a:gd name="T19" fmla="*/ 53 h 1322"/>
                    <a:gd name="T20" fmla="*/ 935 w 1223"/>
                    <a:gd name="T21" fmla="*/ 67 h 1322"/>
                    <a:gd name="T22" fmla="*/ 933 w 1223"/>
                    <a:gd name="T23" fmla="*/ 81 h 1322"/>
                    <a:gd name="T24" fmla="*/ 933 w 1223"/>
                    <a:gd name="T25" fmla="*/ 81 h 1322"/>
                    <a:gd name="T26" fmla="*/ 933 w 1223"/>
                    <a:gd name="T27" fmla="*/ 81 h 1322"/>
                    <a:gd name="T28" fmla="*/ 933 w 1223"/>
                    <a:gd name="T29" fmla="*/ 94 h 1322"/>
                    <a:gd name="T30" fmla="*/ 939 w 1223"/>
                    <a:gd name="T31" fmla="*/ 162 h 1322"/>
                    <a:gd name="T32" fmla="*/ 933 w 1223"/>
                    <a:gd name="T33" fmla="*/ 158 h 1322"/>
                    <a:gd name="T34" fmla="*/ 911 w 1223"/>
                    <a:gd name="T35" fmla="*/ 147 h 1322"/>
                    <a:gd name="T36" fmla="*/ 775 w 1223"/>
                    <a:gd name="T37" fmla="*/ 55 h 1322"/>
                    <a:gd name="T38" fmla="*/ 775 w 1223"/>
                    <a:gd name="T39" fmla="*/ 55 h 1322"/>
                    <a:gd name="T40" fmla="*/ 773 w 1223"/>
                    <a:gd name="T41" fmla="*/ 53 h 1322"/>
                    <a:gd name="T42" fmla="*/ 768 w 1223"/>
                    <a:gd name="T43" fmla="*/ 49 h 1322"/>
                    <a:gd name="T44" fmla="*/ 0 w 1223"/>
                    <a:gd name="T45" fmla="*/ 816 h 1322"/>
                    <a:gd name="T46" fmla="*/ 6 w 1223"/>
                    <a:gd name="T47" fmla="*/ 821 h 1322"/>
                    <a:gd name="T48" fmla="*/ 6 w 1223"/>
                    <a:gd name="T49" fmla="*/ 821 h 1322"/>
                    <a:gd name="T50" fmla="*/ 6 w 1223"/>
                    <a:gd name="T51" fmla="*/ 821 h 1322"/>
                    <a:gd name="T52" fmla="*/ 566 w 1223"/>
                    <a:gd name="T53" fmla="*/ 1181 h 1322"/>
                    <a:gd name="T54" fmla="*/ 1170 w 1223"/>
                    <a:gd name="T55" fmla="*/ 1320 h 1322"/>
                    <a:gd name="T56" fmla="*/ 1170 w 1223"/>
                    <a:gd name="T57" fmla="*/ 1320 h 1322"/>
                    <a:gd name="T58" fmla="*/ 1170 w 1223"/>
                    <a:gd name="T59" fmla="*/ 1320 h 1322"/>
                    <a:gd name="T60" fmla="*/ 1215 w 1223"/>
                    <a:gd name="T61" fmla="*/ 1322 h 1322"/>
                    <a:gd name="T62" fmla="*/ 1215 w 1223"/>
                    <a:gd name="T63" fmla="*/ 1322 h 1322"/>
                    <a:gd name="T64" fmla="*/ 1215 w 1223"/>
                    <a:gd name="T65" fmla="*/ 1322 h 1322"/>
                    <a:gd name="T66" fmla="*/ 1223 w 1223"/>
                    <a:gd name="T67" fmla="*/ 1322 h 1322"/>
                    <a:gd name="T68" fmla="*/ 1223 w 1223"/>
                    <a:gd name="T69" fmla="*/ 1322 h 1322"/>
                    <a:gd name="T70" fmla="*/ 1223 w 1223"/>
                    <a:gd name="T71" fmla="*/ 237 h 1322"/>
                    <a:gd name="T72" fmla="*/ 1213 w 1223"/>
                    <a:gd name="T73" fmla="*/ 236 h 1322"/>
                    <a:gd name="T74" fmla="*/ 1052 w 1223"/>
                    <a:gd name="T75" fmla="*/ 205 h 1322"/>
                    <a:gd name="T76" fmla="*/ 1052 w 1223"/>
                    <a:gd name="T77" fmla="*/ 205 h 1322"/>
                    <a:gd name="T78" fmla="*/ 1022 w 1223"/>
                    <a:gd name="T79" fmla="*/ 196 h 1322"/>
                    <a:gd name="T80" fmla="*/ 1022 w 1223"/>
                    <a:gd name="T81" fmla="*/ 196 h 1322"/>
                    <a:gd name="T82" fmla="*/ 1021 w 1223"/>
                    <a:gd name="T83" fmla="*/ 196 h 1322"/>
                    <a:gd name="T84" fmla="*/ 1062 w 1223"/>
                    <a:gd name="T85" fmla="*/ 162 h 1322"/>
                    <a:gd name="T86" fmla="*/ 1074 w 1223"/>
                    <a:gd name="T87" fmla="*/ 152 h 1322"/>
                    <a:gd name="T88" fmla="*/ 1082 w 1223"/>
                    <a:gd name="T89" fmla="*/ 145 h 1322"/>
                    <a:gd name="T90" fmla="*/ 1094 w 1223"/>
                    <a:gd name="T91" fmla="*/ 128 h 1322"/>
                    <a:gd name="T92" fmla="*/ 1097 w 1223"/>
                    <a:gd name="T93" fmla="*/ 123 h 1322"/>
                    <a:gd name="T94" fmla="*/ 1098 w 1223"/>
                    <a:gd name="T95" fmla="*/ 119 h 1322"/>
                    <a:gd name="T96" fmla="*/ 1098 w 1223"/>
                    <a:gd name="T97" fmla="*/ 119 h 1322"/>
                    <a:gd name="T98" fmla="*/ 1105 w 1223"/>
                    <a:gd name="T99" fmla="*/ 86 h 1322"/>
                    <a:gd name="T100" fmla="*/ 1098 w 1223"/>
                    <a:gd name="T101" fmla="*/ 53 h 1322"/>
                    <a:gd name="T102" fmla="*/ 1090 w 1223"/>
                    <a:gd name="T103" fmla="*/ 38 h 1322"/>
                    <a:gd name="T104" fmla="*/ 1088 w 1223"/>
                    <a:gd name="T105" fmla="*/ 34 h 1322"/>
                    <a:gd name="T106" fmla="*/ 1074 w 1223"/>
                    <a:gd name="T107" fmla="*/ 20 h 1322"/>
                    <a:gd name="T108" fmla="*/ 1052 w 1223"/>
                    <a:gd name="T109" fmla="*/ 6 h 1322"/>
                    <a:gd name="T110" fmla="*/ 1034 w 1223"/>
                    <a:gd name="T111" fmla="*/ 1 h 1322"/>
                    <a:gd name="T112" fmla="*/ 1019 w 1223"/>
                    <a:gd name="T113" fmla="*/ 0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3" h="1322">
                      <a:moveTo>
                        <a:pt x="1019" y="0"/>
                      </a:moveTo>
                      <a:cubicBezTo>
                        <a:pt x="1015" y="0"/>
                        <a:pt x="1012" y="0"/>
                        <a:pt x="1008" y="0"/>
                      </a:cubicBezTo>
                      <a:cubicBezTo>
                        <a:pt x="987" y="3"/>
                        <a:pt x="968" y="13"/>
                        <a:pt x="953" y="30"/>
                      </a:cubicBezTo>
                      <a:cubicBezTo>
                        <a:pt x="953" y="30"/>
                        <a:pt x="953" y="30"/>
                        <a:pt x="953" y="30"/>
                      </a:cubicBezTo>
                      <a:cubicBezTo>
                        <a:pt x="952" y="32"/>
                        <a:pt x="950" y="34"/>
                        <a:pt x="949" y="36"/>
                      </a:cubicBezTo>
                      <a:cubicBezTo>
                        <a:pt x="949" y="37"/>
                        <a:pt x="949" y="37"/>
                        <a:pt x="949" y="37"/>
                      </a:cubicBezTo>
                      <a:cubicBezTo>
                        <a:pt x="946" y="40"/>
                        <a:pt x="944" y="43"/>
                        <a:pt x="943" y="46"/>
                      </a:cubicBezTo>
                      <a:cubicBezTo>
                        <a:pt x="941" y="48"/>
                        <a:pt x="940" y="50"/>
                        <a:pt x="940" y="52"/>
                      </a:cubicBezTo>
                      <a:cubicBezTo>
                        <a:pt x="939" y="53"/>
                        <a:pt x="939" y="53"/>
                        <a:pt x="939" y="53"/>
                      </a:cubicBezTo>
                      <a:cubicBezTo>
                        <a:pt x="939" y="53"/>
                        <a:pt x="939" y="53"/>
                        <a:pt x="939" y="53"/>
                      </a:cubicBezTo>
                      <a:cubicBezTo>
                        <a:pt x="938" y="57"/>
                        <a:pt x="936" y="61"/>
                        <a:pt x="935" y="67"/>
                      </a:cubicBezTo>
                      <a:cubicBezTo>
                        <a:pt x="934" y="71"/>
                        <a:pt x="933" y="76"/>
                        <a:pt x="933" y="81"/>
                      </a:cubicBezTo>
                      <a:cubicBezTo>
                        <a:pt x="933" y="81"/>
                        <a:pt x="933" y="81"/>
                        <a:pt x="933" y="81"/>
                      </a:cubicBezTo>
                      <a:cubicBezTo>
                        <a:pt x="933" y="81"/>
                        <a:pt x="933" y="81"/>
                        <a:pt x="933" y="81"/>
                      </a:cubicBezTo>
                      <a:cubicBezTo>
                        <a:pt x="933" y="86"/>
                        <a:pt x="933" y="90"/>
                        <a:pt x="933" y="94"/>
                      </a:cubicBezTo>
                      <a:cubicBezTo>
                        <a:pt x="939" y="162"/>
                        <a:pt x="939" y="162"/>
                        <a:pt x="939" y="162"/>
                      </a:cubicBezTo>
                      <a:cubicBezTo>
                        <a:pt x="933" y="158"/>
                        <a:pt x="933" y="158"/>
                        <a:pt x="933" y="158"/>
                      </a:cubicBezTo>
                      <a:cubicBezTo>
                        <a:pt x="911" y="147"/>
                        <a:pt x="911" y="147"/>
                        <a:pt x="911" y="147"/>
                      </a:cubicBezTo>
                      <a:cubicBezTo>
                        <a:pt x="863" y="121"/>
                        <a:pt x="818" y="90"/>
                        <a:pt x="775" y="55"/>
                      </a:cubicBezTo>
                      <a:cubicBezTo>
                        <a:pt x="775" y="55"/>
                        <a:pt x="775" y="55"/>
                        <a:pt x="775" y="55"/>
                      </a:cubicBezTo>
                      <a:cubicBezTo>
                        <a:pt x="775" y="54"/>
                        <a:pt x="774" y="54"/>
                        <a:pt x="773" y="53"/>
                      </a:cubicBezTo>
                      <a:cubicBezTo>
                        <a:pt x="771" y="52"/>
                        <a:pt x="769" y="50"/>
                        <a:pt x="768" y="49"/>
                      </a:cubicBezTo>
                      <a:cubicBezTo>
                        <a:pt x="0" y="816"/>
                        <a:pt x="0" y="816"/>
                        <a:pt x="0" y="816"/>
                      </a:cubicBezTo>
                      <a:cubicBezTo>
                        <a:pt x="2" y="818"/>
                        <a:pt x="4" y="819"/>
                        <a:pt x="6" y="821"/>
                      </a:cubicBezTo>
                      <a:cubicBezTo>
                        <a:pt x="6" y="821"/>
                        <a:pt x="6" y="821"/>
                        <a:pt x="6" y="821"/>
                      </a:cubicBezTo>
                      <a:cubicBezTo>
                        <a:pt x="6" y="821"/>
                        <a:pt x="6" y="821"/>
                        <a:pt x="6" y="821"/>
                      </a:cubicBezTo>
                      <a:cubicBezTo>
                        <a:pt x="171" y="974"/>
                        <a:pt x="359" y="1096"/>
                        <a:pt x="566" y="1181"/>
                      </a:cubicBezTo>
                      <a:cubicBezTo>
                        <a:pt x="758" y="1261"/>
                        <a:pt x="961" y="1308"/>
                        <a:pt x="1170" y="1320"/>
                      </a:cubicBezTo>
                      <a:cubicBezTo>
                        <a:pt x="1170" y="1320"/>
                        <a:pt x="1170" y="1320"/>
                        <a:pt x="1170" y="1320"/>
                      </a:cubicBezTo>
                      <a:cubicBezTo>
                        <a:pt x="1170" y="1320"/>
                        <a:pt x="1170" y="1320"/>
                        <a:pt x="1170" y="1320"/>
                      </a:cubicBezTo>
                      <a:cubicBezTo>
                        <a:pt x="1185" y="1321"/>
                        <a:pt x="1200" y="1322"/>
                        <a:pt x="1215" y="1322"/>
                      </a:cubicBezTo>
                      <a:cubicBezTo>
                        <a:pt x="1215" y="1322"/>
                        <a:pt x="1215" y="1322"/>
                        <a:pt x="1215" y="1322"/>
                      </a:cubicBezTo>
                      <a:cubicBezTo>
                        <a:pt x="1215" y="1322"/>
                        <a:pt x="1215" y="1322"/>
                        <a:pt x="1215" y="1322"/>
                      </a:cubicBezTo>
                      <a:cubicBezTo>
                        <a:pt x="1218" y="1322"/>
                        <a:pt x="1220" y="1322"/>
                        <a:pt x="1223" y="1322"/>
                      </a:cubicBezTo>
                      <a:cubicBezTo>
                        <a:pt x="1223" y="1322"/>
                        <a:pt x="1223" y="1322"/>
                        <a:pt x="1223" y="1322"/>
                      </a:cubicBezTo>
                      <a:cubicBezTo>
                        <a:pt x="1223" y="237"/>
                        <a:pt x="1223" y="237"/>
                        <a:pt x="1223" y="237"/>
                      </a:cubicBezTo>
                      <a:cubicBezTo>
                        <a:pt x="1219" y="237"/>
                        <a:pt x="1216" y="237"/>
                        <a:pt x="1213" y="236"/>
                      </a:cubicBezTo>
                      <a:cubicBezTo>
                        <a:pt x="1158" y="231"/>
                        <a:pt x="1104" y="221"/>
                        <a:pt x="1052" y="205"/>
                      </a:cubicBezTo>
                      <a:cubicBezTo>
                        <a:pt x="1052" y="205"/>
                        <a:pt x="1052" y="205"/>
                        <a:pt x="1052" y="205"/>
                      </a:cubicBezTo>
                      <a:cubicBezTo>
                        <a:pt x="1022" y="196"/>
                        <a:pt x="1022" y="196"/>
                        <a:pt x="1022" y="196"/>
                      </a:cubicBezTo>
                      <a:cubicBezTo>
                        <a:pt x="1022" y="196"/>
                        <a:pt x="1022" y="196"/>
                        <a:pt x="1022" y="196"/>
                      </a:cubicBezTo>
                      <a:cubicBezTo>
                        <a:pt x="1021" y="196"/>
                        <a:pt x="1021" y="196"/>
                        <a:pt x="1021" y="196"/>
                      </a:cubicBezTo>
                      <a:cubicBezTo>
                        <a:pt x="1062" y="162"/>
                        <a:pt x="1062" y="162"/>
                        <a:pt x="1062" y="162"/>
                      </a:cubicBezTo>
                      <a:cubicBezTo>
                        <a:pt x="1074" y="152"/>
                        <a:pt x="1074" y="152"/>
                        <a:pt x="1074" y="152"/>
                      </a:cubicBezTo>
                      <a:cubicBezTo>
                        <a:pt x="1077" y="150"/>
                        <a:pt x="1079" y="147"/>
                        <a:pt x="1082" y="145"/>
                      </a:cubicBezTo>
                      <a:cubicBezTo>
                        <a:pt x="1086" y="140"/>
                        <a:pt x="1090" y="134"/>
                        <a:pt x="1094" y="128"/>
                      </a:cubicBezTo>
                      <a:cubicBezTo>
                        <a:pt x="1095" y="126"/>
                        <a:pt x="1096" y="125"/>
                        <a:pt x="1097" y="123"/>
                      </a:cubicBezTo>
                      <a:cubicBezTo>
                        <a:pt x="1097" y="121"/>
                        <a:pt x="1098" y="120"/>
                        <a:pt x="1098" y="119"/>
                      </a:cubicBezTo>
                      <a:cubicBezTo>
                        <a:pt x="1098" y="119"/>
                        <a:pt x="1098" y="119"/>
                        <a:pt x="1098" y="119"/>
                      </a:cubicBezTo>
                      <a:cubicBezTo>
                        <a:pt x="1103" y="108"/>
                        <a:pt x="1105" y="97"/>
                        <a:pt x="1105" y="86"/>
                      </a:cubicBezTo>
                      <a:cubicBezTo>
                        <a:pt x="1105" y="75"/>
                        <a:pt x="1103" y="64"/>
                        <a:pt x="1098" y="53"/>
                      </a:cubicBezTo>
                      <a:cubicBezTo>
                        <a:pt x="1096" y="48"/>
                        <a:pt x="1093" y="43"/>
                        <a:pt x="1090" y="38"/>
                      </a:cubicBezTo>
                      <a:cubicBezTo>
                        <a:pt x="1089" y="37"/>
                        <a:pt x="1088" y="35"/>
                        <a:pt x="1088" y="34"/>
                      </a:cubicBezTo>
                      <a:cubicBezTo>
                        <a:pt x="1084" y="29"/>
                        <a:pt x="1079" y="24"/>
                        <a:pt x="1074" y="20"/>
                      </a:cubicBezTo>
                      <a:cubicBezTo>
                        <a:pt x="1067" y="14"/>
                        <a:pt x="1060" y="10"/>
                        <a:pt x="1052" y="6"/>
                      </a:cubicBezTo>
                      <a:cubicBezTo>
                        <a:pt x="1046" y="4"/>
                        <a:pt x="1040" y="2"/>
                        <a:pt x="1034" y="1"/>
                      </a:cubicBezTo>
                      <a:cubicBezTo>
                        <a:pt x="1029" y="0"/>
                        <a:pt x="1024" y="0"/>
                        <a:pt x="101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91">
                  <a:extLst>
                    <a:ext uri="{FF2B5EF4-FFF2-40B4-BE49-F238E27FC236}">
                      <a16:creationId xmlns:a16="http://schemas.microsoft.com/office/drawing/2014/main" id="{E0E3BAB6-824F-48B1-9B71-8EC07D1A2624}"/>
                    </a:ext>
                  </a:extLst>
                </p:cNvPr>
                <p:cNvSpPr>
                  <a:spLocks/>
                </p:cNvSpPr>
                <p:nvPr/>
              </p:nvSpPr>
              <p:spPr bwMode="auto">
                <a:xfrm>
                  <a:off x="3764186" y="4074288"/>
                  <a:ext cx="1611151" cy="1498661"/>
                </a:xfrm>
                <a:custGeom>
                  <a:avLst/>
                  <a:gdLst>
                    <a:gd name="T0" fmla="*/ 1315 w 1359"/>
                    <a:gd name="T1" fmla="*/ 473 h 1264"/>
                    <a:gd name="T2" fmla="*/ 1298 w 1359"/>
                    <a:gd name="T3" fmla="*/ 454 h 1264"/>
                    <a:gd name="T4" fmla="*/ 1209 w 1359"/>
                    <a:gd name="T5" fmla="*/ 321 h 1264"/>
                    <a:gd name="T6" fmla="*/ 1245 w 1359"/>
                    <a:gd name="T7" fmla="*/ 324 h 1264"/>
                    <a:gd name="T8" fmla="*/ 1282 w 1359"/>
                    <a:gd name="T9" fmla="*/ 321 h 1264"/>
                    <a:gd name="T10" fmla="*/ 1294 w 1359"/>
                    <a:gd name="T11" fmla="*/ 317 h 1264"/>
                    <a:gd name="T12" fmla="*/ 1350 w 1359"/>
                    <a:gd name="T13" fmla="*/ 261 h 1264"/>
                    <a:gd name="T14" fmla="*/ 1355 w 1359"/>
                    <a:gd name="T15" fmla="*/ 241 h 1264"/>
                    <a:gd name="T16" fmla="*/ 1349 w 1359"/>
                    <a:gd name="T17" fmla="*/ 182 h 1264"/>
                    <a:gd name="T18" fmla="*/ 1246 w 1359"/>
                    <a:gd name="T19" fmla="*/ 118 h 1264"/>
                    <a:gd name="T20" fmla="*/ 1235 w 1359"/>
                    <a:gd name="T21" fmla="*/ 120 h 1264"/>
                    <a:gd name="T22" fmla="*/ 1215 w 1359"/>
                    <a:gd name="T23" fmla="*/ 126 h 1264"/>
                    <a:gd name="T24" fmla="*/ 1199 w 1359"/>
                    <a:gd name="T25" fmla="*/ 134 h 1264"/>
                    <a:gd name="T26" fmla="*/ 1186 w 1359"/>
                    <a:gd name="T27" fmla="*/ 144 h 1264"/>
                    <a:gd name="T28" fmla="*/ 1175 w 1359"/>
                    <a:gd name="T29" fmla="*/ 155 h 1264"/>
                    <a:gd name="T30" fmla="*/ 1152 w 1359"/>
                    <a:gd name="T31" fmla="*/ 183 h 1264"/>
                    <a:gd name="T32" fmla="*/ 1121 w 1359"/>
                    <a:gd name="T33" fmla="*/ 26 h 1264"/>
                    <a:gd name="T34" fmla="*/ 1119 w 1359"/>
                    <a:gd name="T35" fmla="*/ 0 h 1264"/>
                    <a:gd name="T36" fmla="*/ 0 w 1359"/>
                    <a:gd name="T37" fmla="*/ 0 h 1264"/>
                    <a:gd name="T38" fmla="*/ 1 w 1359"/>
                    <a:gd name="T39" fmla="*/ 26 h 1264"/>
                    <a:gd name="T40" fmla="*/ 506 w 1359"/>
                    <a:gd name="T41" fmla="*/ 1246 h 1264"/>
                    <a:gd name="T42" fmla="*/ 524 w 1359"/>
                    <a:gd name="T43" fmla="*/ 1264 h 1264"/>
                    <a:gd name="T44" fmla="*/ 1315 w 1359"/>
                    <a:gd name="T45" fmla="*/ 473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59" h="1264">
                      <a:moveTo>
                        <a:pt x="1315" y="473"/>
                      </a:moveTo>
                      <a:cubicBezTo>
                        <a:pt x="1309" y="467"/>
                        <a:pt x="1304" y="460"/>
                        <a:pt x="1298" y="454"/>
                      </a:cubicBezTo>
                      <a:cubicBezTo>
                        <a:pt x="1264" y="413"/>
                        <a:pt x="1234" y="369"/>
                        <a:pt x="1209" y="321"/>
                      </a:cubicBezTo>
                      <a:cubicBezTo>
                        <a:pt x="1245" y="324"/>
                        <a:pt x="1245" y="324"/>
                        <a:pt x="1245" y="324"/>
                      </a:cubicBezTo>
                      <a:cubicBezTo>
                        <a:pt x="1257" y="325"/>
                        <a:pt x="1270" y="324"/>
                        <a:pt x="1282" y="321"/>
                      </a:cubicBezTo>
                      <a:cubicBezTo>
                        <a:pt x="1286" y="320"/>
                        <a:pt x="1290" y="318"/>
                        <a:pt x="1294" y="317"/>
                      </a:cubicBezTo>
                      <a:cubicBezTo>
                        <a:pt x="1319" y="306"/>
                        <a:pt x="1339" y="286"/>
                        <a:pt x="1350" y="261"/>
                      </a:cubicBezTo>
                      <a:cubicBezTo>
                        <a:pt x="1352" y="254"/>
                        <a:pt x="1354" y="248"/>
                        <a:pt x="1355" y="241"/>
                      </a:cubicBezTo>
                      <a:cubicBezTo>
                        <a:pt x="1359" y="221"/>
                        <a:pt x="1357" y="201"/>
                        <a:pt x="1349" y="182"/>
                      </a:cubicBezTo>
                      <a:cubicBezTo>
                        <a:pt x="1332" y="140"/>
                        <a:pt x="1291" y="115"/>
                        <a:pt x="1246" y="118"/>
                      </a:cubicBezTo>
                      <a:cubicBezTo>
                        <a:pt x="1242" y="119"/>
                        <a:pt x="1238" y="119"/>
                        <a:pt x="1235" y="120"/>
                      </a:cubicBezTo>
                      <a:cubicBezTo>
                        <a:pt x="1228" y="121"/>
                        <a:pt x="1221" y="123"/>
                        <a:pt x="1215" y="126"/>
                      </a:cubicBezTo>
                      <a:cubicBezTo>
                        <a:pt x="1209" y="128"/>
                        <a:pt x="1204" y="131"/>
                        <a:pt x="1199" y="134"/>
                      </a:cubicBezTo>
                      <a:cubicBezTo>
                        <a:pt x="1195" y="137"/>
                        <a:pt x="1190" y="140"/>
                        <a:pt x="1186" y="144"/>
                      </a:cubicBezTo>
                      <a:cubicBezTo>
                        <a:pt x="1182" y="148"/>
                        <a:pt x="1178" y="151"/>
                        <a:pt x="1175" y="155"/>
                      </a:cubicBezTo>
                      <a:cubicBezTo>
                        <a:pt x="1152" y="183"/>
                        <a:pt x="1152" y="183"/>
                        <a:pt x="1152" y="183"/>
                      </a:cubicBezTo>
                      <a:cubicBezTo>
                        <a:pt x="1136" y="131"/>
                        <a:pt x="1126" y="78"/>
                        <a:pt x="1121" y="26"/>
                      </a:cubicBezTo>
                      <a:cubicBezTo>
                        <a:pt x="1120" y="17"/>
                        <a:pt x="1120" y="9"/>
                        <a:pt x="1119" y="0"/>
                      </a:cubicBezTo>
                      <a:cubicBezTo>
                        <a:pt x="0" y="0"/>
                        <a:pt x="0" y="0"/>
                        <a:pt x="0" y="0"/>
                      </a:cubicBezTo>
                      <a:cubicBezTo>
                        <a:pt x="1" y="9"/>
                        <a:pt x="1" y="17"/>
                        <a:pt x="1" y="26"/>
                      </a:cubicBezTo>
                      <a:cubicBezTo>
                        <a:pt x="17" y="466"/>
                        <a:pt x="185" y="901"/>
                        <a:pt x="506" y="1246"/>
                      </a:cubicBezTo>
                      <a:cubicBezTo>
                        <a:pt x="512" y="1252"/>
                        <a:pt x="518" y="1258"/>
                        <a:pt x="524" y="1264"/>
                      </a:cubicBezTo>
                      <a:cubicBezTo>
                        <a:pt x="1315" y="473"/>
                        <a:pt x="1315" y="473"/>
                        <a:pt x="1315" y="4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309">
                  <a:extLst>
                    <a:ext uri="{FF2B5EF4-FFF2-40B4-BE49-F238E27FC236}">
                      <a16:creationId xmlns:a16="http://schemas.microsoft.com/office/drawing/2014/main" id="{CF85DA46-B0E4-48E9-8298-EE36B81D6E92}"/>
                    </a:ext>
                  </a:extLst>
                </p:cNvPr>
                <p:cNvSpPr>
                  <a:spLocks/>
                </p:cNvSpPr>
                <p:nvPr/>
              </p:nvSpPr>
              <p:spPr bwMode="auto">
                <a:xfrm>
                  <a:off x="3785233" y="4094609"/>
                  <a:ext cx="1567607" cy="1450036"/>
                </a:xfrm>
                <a:custGeom>
                  <a:avLst/>
                  <a:gdLst>
                    <a:gd name="T0" fmla="*/ 0 w 1322"/>
                    <a:gd name="T1" fmla="*/ 0 h 1223"/>
                    <a:gd name="T2" fmla="*/ 0 w 1322"/>
                    <a:gd name="T3" fmla="*/ 1 h 1223"/>
                    <a:gd name="T4" fmla="*/ 15 w 1322"/>
                    <a:gd name="T5" fmla="*/ 184 h 1223"/>
                    <a:gd name="T6" fmla="*/ 298 w 1322"/>
                    <a:gd name="T7" fmla="*/ 958 h 1223"/>
                    <a:gd name="T8" fmla="*/ 506 w 1322"/>
                    <a:gd name="T9" fmla="*/ 1223 h 1223"/>
                    <a:gd name="T10" fmla="*/ 1267 w 1322"/>
                    <a:gd name="T11" fmla="*/ 448 h 1223"/>
                    <a:gd name="T12" fmla="*/ 1175 w 1322"/>
                    <a:gd name="T13" fmla="*/ 312 h 1223"/>
                    <a:gd name="T14" fmla="*/ 1228 w 1322"/>
                    <a:gd name="T15" fmla="*/ 290 h 1223"/>
                    <a:gd name="T16" fmla="*/ 1256 w 1322"/>
                    <a:gd name="T17" fmla="*/ 288 h 1223"/>
                    <a:gd name="T18" fmla="*/ 1257 w 1322"/>
                    <a:gd name="T19" fmla="*/ 288 h 1223"/>
                    <a:gd name="T20" fmla="*/ 1257 w 1322"/>
                    <a:gd name="T21" fmla="*/ 288 h 1223"/>
                    <a:gd name="T22" fmla="*/ 1257 w 1322"/>
                    <a:gd name="T23" fmla="*/ 288 h 1223"/>
                    <a:gd name="T24" fmla="*/ 1257 w 1322"/>
                    <a:gd name="T25" fmla="*/ 288 h 1223"/>
                    <a:gd name="T26" fmla="*/ 1257 w 1322"/>
                    <a:gd name="T27" fmla="*/ 288 h 1223"/>
                    <a:gd name="T28" fmla="*/ 1258 w 1322"/>
                    <a:gd name="T29" fmla="*/ 288 h 1223"/>
                    <a:gd name="T30" fmla="*/ 1258 w 1322"/>
                    <a:gd name="T31" fmla="*/ 287 h 1223"/>
                    <a:gd name="T32" fmla="*/ 1258 w 1322"/>
                    <a:gd name="T33" fmla="*/ 287 h 1223"/>
                    <a:gd name="T34" fmla="*/ 1258 w 1322"/>
                    <a:gd name="T35" fmla="*/ 287 h 1223"/>
                    <a:gd name="T36" fmla="*/ 1258 w 1322"/>
                    <a:gd name="T37" fmla="*/ 287 h 1223"/>
                    <a:gd name="T38" fmla="*/ 1258 w 1322"/>
                    <a:gd name="T39" fmla="*/ 287 h 1223"/>
                    <a:gd name="T40" fmla="*/ 1259 w 1322"/>
                    <a:gd name="T41" fmla="*/ 287 h 1223"/>
                    <a:gd name="T42" fmla="*/ 1259 w 1322"/>
                    <a:gd name="T43" fmla="*/ 287 h 1223"/>
                    <a:gd name="T44" fmla="*/ 1259 w 1322"/>
                    <a:gd name="T45" fmla="*/ 287 h 1223"/>
                    <a:gd name="T46" fmla="*/ 1259 w 1322"/>
                    <a:gd name="T47" fmla="*/ 287 h 1223"/>
                    <a:gd name="T48" fmla="*/ 1316 w 1322"/>
                    <a:gd name="T49" fmla="*/ 237 h 1223"/>
                    <a:gd name="T50" fmla="*/ 1318 w 1322"/>
                    <a:gd name="T51" fmla="*/ 230 h 1223"/>
                    <a:gd name="T52" fmla="*/ 1322 w 1322"/>
                    <a:gd name="T53" fmla="*/ 204 h 1223"/>
                    <a:gd name="T54" fmla="*/ 1295 w 1322"/>
                    <a:gd name="T55" fmla="*/ 141 h 1223"/>
                    <a:gd name="T56" fmla="*/ 1239 w 1322"/>
                    <a:gd name="T57" fmla="*/ 118 h 1223"/>
                    <a:gd name="T58" fmla="*/ 1236 w 1322"/>
                    <a:gd name="T59" fmla="*/ 118 h 1223"/>
                    <a:gd name="T60" fmla="*/ 1229 w 1322"/>
                    <a:gd name="T61" fmla="*/ 119 h 1223"/>
                    <a:gd name="T62" fmla="*/ 1221 w 1322"/>
                    <a:gd name="T63" fmla="*/ 120 h 1223"/>
                    <a:gd name="T64" fmla="*/ 1203 w 1322"/>
                    <a:gd name="T65" fmla="*/ 125 h 1223"/>
                    <a:gd name="T66" fmla="*/ 1191 w 1322"/>
                    <a:gd name="T67" fmla="*/ 131 h 1223"/>
                    <a:gd name="T68" fmla="*/ 1179 w 1322"/>
                    <a:gd name="T69" fmla="*/ 140 h 1223"/>
                    <a:gd name="T70" fmla="*/ 1170 w 1322"/>
                    <a:gd name="T71" fmla="*/ 149 h 1223"/>
                    <a:gd name="T72" fmla="*/ 1126 w 1322"/>
                    <a:gd name="T73" fmla="*/ 202 h 1223"/>
                    <a:gd name="T74" fmla="*/ 1126 w 1322"/>
                    <a:gd name="T75" fmla="*/ 202 h 1223"/>
                    <a:gd name="T76" fmla="*/ 1086 w 1322"/>
                    <a:gd name="T77" fmla="*/ 1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1223">
                      <a:moveTo>
                        <a:pt x="1085" y="0"/>
                      </a:moveTo>
                      <a:cubicBezTo>
                        <a:pt x="0" y="0"/>
                        <a:pt x="0" y="0"/>
                        <a:pt x="0" y="0"/>
                      </a:cubicBezTo>
                      <a:cubicBezTo>
                        <a:pt x="0" y="0"/>
                        <a:pt x="0" y="0"/>
                        <a:pt x="0" y="0"/>
                      </a:cubicBezTo>
                      <a:cubicBezTo>
                        <a:pt x="0" y="0"/>
                        <a:pt x="0" y="0"/>
                        <a:pt x="0" y="1"/>
                      </a:cubicBezTo>
                      <a:cubicBezTo>
                        <a:pt x="0" y="3"/>
                        <a:pt x="0" y="6"/>
                        <a:pt x="0" y="8"/>
                      </a:cubicBezTo>
                      <a:cubicBezTo>
                        <a:pt x="2" y="67"/>
                        <a:pt x="7" y="126"/>
                        <a:pt x="15" y="184"/>
                      </a:cubicBezTo>
                      <a:cubicBezTo>
                        <a:pt x="36" y="347"/>
                        <a:pt x="78" y="506"/>
                        <a:pt x="141" y="659"/>
                      </a:cubicBezTo>
                      <a:cubicBezTo>
                        <a:pt x="185" y="763"/>
                        <a:pt x="237" y="863"/>
                        <a:pt x="298" y="958"/>
                      </a:cubicBezTo>
                      <a:cubicBezTo>
                        <a:pt x="358" y="1049"/>
                        <a:pt x="425" y="1136"/>
                        <a:pt x="501" y="1217"/>
                      </a:cubicBezTo>
                      <a:cubicBezTo>
                        <a:pt x="503" y="1219"/>
                        <a:pt x="504" y="1221"/>
                        <a:pt x="506" y="1223"/>
                      </a:cubicBezTo>
                      <a:cubicBezTo>
                        <a:pt x="1274" y="455"/>
                        <a:pt x="1274" y="455"/>
                        <a:pt x="1274" y="455"/>
                      </a:cubicBezTo>
                      <a:cubicBezTo>
                        <a:pt x="1271" y="453"/>
                        <a:pt x="1269" y="450"/>
                        <a:pt x="1267" y="448"/>
                      </a:cubicBezTo>
                      <a:cubicBezTo>
                        <a:pt x="1267" y="448"/>
                        <a:pt x="1267" y="448"/>
                        <a:pt x="1267" y="448"/>
                      </a:cubicBezTo>
                      <a:cubicBezTo>
                        <a:pt x="1232" y="406"/>
                        <a:pt x="1201" y="360"/>
                        <a:pt x="1175" y="312"/>
                      </a:cubicBezTo>
                      <a:cubicBezTo>
                        <a:pt x="1160" y="284"/>
                        <a:pt x="1160" y="284"/>
                        <a:pt x="1160" y="284"/>
                      </a:cubicBezTo>
                      <a:cubicBezTo>
                        <a:pt x="1228" y="290"/>
                        <a:pt x="1228" y="290"/>
                        <a:pt x="1228" y="290"/>
                      </a:cubicBezTo>
                      <a:cubicBezTo>
                        <a:pt x="1231" y="290"/>
                        <a:pt x="1233" y="290"/>
                        <a:pt x="1236" y="290"/>
                      </a:cubicBezTo>
                      <a:cubicBezTo>
                        <a:pt x="1243" y="290"/>
                        <a:pt x="1250" y="289"/>
                        <a:pt x="1256" y="288"/>
                      </a:cubicBezTo>
                      <a:cubicBezTo>
                        <a:pt x="1256" y="288"/>
                        <a:pt x="1256" y="288"/>
                        <a:pt x="1256" y="288"/>
                      </a:cubicBezTo>
                      <a:cubicBezTo>
                        <a:pt x="1256"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7" y="288"/>
                      </a:cubicBezTo>
                      <a:cubicBezTo>
                        <a:pt x="1257" y="288"/>
                        <a:pt x="1257" y="288"/>
                        <a:pt x="1258" y="288"/>
                      </a:cubicBezTo>
                      <a:cubicBezTo>
                        <a:pt x="1258" y="288"/>
                        <a:pt x="1258" y="288"/>
                        <a:pt x="1258" y="288"/>
                      </a:cubicBezTo>
                      <a:cubicBezTo>
                        <a:pt x="1258" y="288"/>
                        <a:pt x="1258" y="288"/>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8" y="287"/>
                        <a:pt x="1258" y="287"/>
                        <a:pt x="1258" y="287"/>
                      </a:cubicBezTo>
                      <a:cubicBezTo>
                        <a:pt x="1259" y="287"/>
                        <a:pt x="1259" y="287"/>
                        <a:pt x="1259" y="287"/>
                      </a:cubicBezTo>
                      <a:cubicBezTo>
                        <a:pt x="1259" y="287"/>
                        <a:pt x="1259" y="287"/>
                        <a:pt x="1259" y="287"/>
                      </a:cubicBezTo>
                      <a:cubicBezTo>
                        <a:pt x="1259" y="287"/>
                        <a:pt x="1259" y="287"/>
                        <a:pt x="1259" y="287"/>
                      </a:cubicBezTo>
                      <a:cubicBezTo>
                        <a:pt x="1259" y="287"/>
                        <a:pt x="1259" y="287"/>
                        <a:pt x="1259" y="287"/>
                      </a:cubicBezTo>
                      <a:cubicBezTo>
                        <a:pt x="1259" y="287"/>
                        <a:pt x="1259" y="287"/>
                        <a:pt x="1259" y="287"/>
                      </a:cubicBezTo>
                      <a:cubicBezTo>
                        <a:pt x="1259" y="287"/>
                        <a:pt x="1259" y="287"/>
                        <a:pt x="1259" y="287"/>
                      </a:cubicBezTo>
                      <a:cubicBezTo>
                        <a:pt x="1259" y="287"/>
                        <a:pt x="1259" y="287"/>
                        <a:pt x="1259" y="287"/>
                      </a:cubicBezTo>
                      <a:cubicBezTo>
                        <a:pt x="1263" y="286"/>
                        <a:pt x="1266" y="285"/>
                        <a:pt x="1269" y="284"/>
                      </a:cubicBezTo>
                      <a:cubicBezTo>
                        <a:pt x="1290" y="275"/>
                        <a:pt x="1307" y="258"/>
                        <a:pt x="1316" y="237"/>
                      </a:cubicBezTo>
                      <a:cubicBezTo>
                        <a:pt x="1316" y="237"/>
                        <a:pt x="1316" y="237"/>
                        <a:pt x="1316" y="237"/>
                      </a:cubicBezTo>
                      <a:cubicBezTo>
                        <a:pt x="1317" y="235"/>
                        <a:pt x="1317" y="233"/>
                        <a:pt x="1318" y="230"/>
                      </a:cubicBezTo>
                      <a:cubicBezTo>
                        <a:pt x="1319" y="227"/>
                        <a:pt x="1320" y="224"/>
                        <a:pt x="1321" y="221"/>
                      </a:cubicBezTo>
                      <a:cubicBezTo>
                        <a:pt x="1322" y="215"/>
                        <a:pt x="1322" y="210"/>
                        <a:pt x="1322" y="204"/>
                      </a:cubicBezTo>
                      <a:cubicBezTo>
                        <a:pt x="1322" y="193"/>
                        <a:pt x="1320" y="182"/>
                        <a:pt x="1316" y="171"/>
                      </a:cubicBezTo>
                      <a:cubicBezTo>
                        <a:pt x="1311" y="160"/>
                        <a:pt x="1304" y="150"/>
                        <a:pt x="1295" y="141"/>
                      </a:cubicBezTo>
                      <a:cubicBezTo>
                        <a:pt x="1283" y="131"/>
                        <a:pt x="1269" y="123"/>
                        <a:pt x="1253" y="120"/>
                      </a:cubicBezTo>
                      <a:cubicBezTo>
                        <a:pt x="1248" y="119"/>
                        <a:pt x="1244" y="118"/>
                        <a:pt x="1239" y="118"/>
                      </a:cubicBezTo>
                      <a:cubicBezTo>
                        <a:pt x="1238" y="118"/>
                        <a:pt x="1237" y="118"/>
                        <a:pt x="1236" y="118"/>
                      </a:cubicBezTo>
                      <a:cubicBezTo>
                        <a:pt x="1236" y="118"/>
                        <a:pt x="1236" y="118"/>
                        <a:pt x="1236" y="118"/>
                      </a:cubicBezTo>
                      <a:cubicBezTo>
                        <a:pt x="1234" y="118"/>
                        <a:pt x="1232" y="118"/>
                        <a:pt x="1229" y="119"/>
                      </a:cubicBezTo>
                      <a:cubicBezTo>
                        <a:pt x="1229" y="119"/>
                        <a:pt x="1229" y="119"/>
                        <a:pt x="1229" y="119"/>
                      </a:cubicBezTo>
                      <a:cubicBezTo>
                        <a:pt x="1229" y="119"/>
                        <a:pt x="1229" y="119"/>
                        <a:pt x="1229" y="119"/>
                      </a:cubicBezTo>
                      <a:cubicBezTo>
                        <a:pt x="1227" y="119"/>
                        <a:pt x="1224" y="119"/>
                        <a:pt x="1221" y="120"/>
                      </a:cubicBezTo>
                      <a:cubicBezTo>
                        <a:pt x="1213" y="121"/>
                        <a:pt x="1208" y="123"/>
                        <a:pt x="1203" y="125"/>
                      </a:cubicBezTo>
                      <a:cubicBezTo>
                        <a:pt x="1203" y="125"/>
                        <a:pt x="1203" y="125"/>
                        <a:pt x="1203" y="125"/>
                      </a:cubicBezTo>
                      <a:cubicBezTo>
                        <a:pt x="1203" y="125"/>
                        <a:pt x="1203" y="125"/>
                        <a:pt x="1203" y="125"/>
                      </a:cubicBezTo>
                      <a:cubicBezTo>
                        <a:pt x="1199" y="126"/>
                        <a:pt x="1195" y="129"/>
                        <a:pt x="1191" y="131"/>
                      </a:cubicBezTo>
                      <a:cubicBezTo>
                        <a:pt x="1187" y="133"/>
                        <a:pt x="1184" y="136"/>
                        <a:pt x="1182" y="138"/>
                      </a:cubicBezTo>
                      <a:cubicBezTo>
                        <a:pt x="1181" y="139"/>
                        <a:pt x="1180" y="139"/>
                        <a:pt x="1179" y="140"/>
                      </a:cubicBezTo>
                      <a:cubicBezTo>
                        <a:pt x="1178" y="141"/>
                        <a:pt x="1177" y="142"/>
                        <a:pt x="1175" y="143"/>
                      </a:cubicBezTo>
                      <a:cubicBezTo>
                        <a:pt x="1173" y="145"/>
                        <a:pt x="1172" y="147"/>
                        <a:pt x="1170" y="149"/>
                      </a:cubicBezTo>
                      <a:cubicBezTo>
                        <a:pt x="1170" y="149"/>
                        <a:pt x="1170" y="149"/>
                        <a:pt x="1170" y="149"/>
                      </a:cubicBezTo>
                      <a:cubicBezTo>
                        <a:pt x="1126" y="202"/>
                        <a:pt x="1126" y="202"/>
                        <a:pt x="1126" y="202"/>
                      </a:cubicBezTo>
                      <a:cubicBezTo>
                        <a:pt x="1126" y="202"/>
                        <a:pt x="1126" y="202"/>
                        <a:pt x="1126" y="202"/>
                      </a:cubicBezTo>
                      <a:cubicBezTo>
                        <a:pt x="1126" y="202"/>
                        <a:pt x="1126" y="202"/>
                        <a:pt x="1126" y="202"/>
                      </a:cubicBezTo>
                      <a:cubicBezTo>
                        <a:pt x="1117" y="171"/>
                        <a:pt x="1117" y="171"/>
                        <a:pt x="1117" y="171"/>
                      </a:cubicBezTo>
                      <a:cubicBezTo>
                        <a:pt x="1101" y="119"/>
                        <a:pt x="1091" y="65"/>
                        <a:pt x="1086" y="10"/>
                      </a:cubicBezTo>
                      <a:cubicBezTo>
                        <a:pt x="1085" y="7"/>
                        <a:pt x="1085" y="4"/>
                        <a:pt x="108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312">
                  <a:extLst>
                    <a:ext uri="{FF2B5EF4-FFF2-40B4-BE49-F238E27FC236}">
                      <a16:creationId xmlns:a16="http://schemas.microsoft.com/office/drawing/2014/main" id="{A17E2753-5DCB-4BBA-B8E9-BC3BECF157DB}"/>
                    </a:ext>
                  </a:extLst>
                </p:cNvPr>
                <p:cNvSpPr>
                  <a:spLocks/>
                </p:cNvSpPr>
                <p:nvPr/>
              </p:nvSpPr>
              <p:spPr bwMode="auto">
                <a:xfrm>
                  <a:off x="3764186" y="2474023"/>
                  <a:ext cx="1620586" cy="1498661"/>
                </a:xfrm>
                <a:custGeom>
                  <a:avLst/>
                  <a:gdLst>
                    <a:gd name="T0" fmla="*/ 1119 w 1367"/>
                    <a:gd name="T1" fmla="*/ 1264 h 1264"/>
                    <a:gd name="T2" fmla="*/ 1121 w 1367"/>
                    <a:gd name="T3" fmla="*/ 1238 h 1264"/>
                    <a:gd name="T4" fmla="*/ 1152 w 1367"/>
                    <a:gd name="T5" fmla="*/ 1081 h 1264"/>
                    <a:gd name="T6" fmla="*/ 1175 w 1367"/>
                    <a:gd name="T7" fmla="*/ 1109 h 1264"/>
                    <a:gd name="T8" fmla="*/ 1204 w 1367"/>
                    <a:gd name="T9" fmla="*/ 1133 h 1264"/>
                    <a:gd name="T10" fmla="*/ 1215 w 1367"/>
                    <a:gd name="T11" fmla="*/ 1138 h 1264"/>
                    <a:gd name="T12" fmla="*/ 1294 w 1367"/>
                    <a:gd name="T13" fmla="*/ 1138 h 1264"/>
                    <a:gd name="T14" fmla="*/ 1312 w 1367"/>
                    <a:gd name="T15" fmla="*/ 1129 h 1264"/>
                    <a:gd name="T16" fmla="*/ 1349 w 1367"/>
                    <a:gd name="T17" fmla="*/ 1082 h 1264"/>
                    <a:gd name="T18" fmla="*/ 1350 w 1367"/>
                    <a:gd name="T19" fmla="*/ 1082 h 1264"/>
                    <a:gd name="T20" fmla="*/ 1321 w 1367"/>
                    <a:gd name="T21" fmla="*/ 964 h 1264"/>
                    <a:gd name="T22" fmla="*/ 1312 w 1367"/>
                    <a:gd name="T23" fmla="*/ 958 h 1264"/>
                    <a:gd name="T24" fmla="*/ 1294 w 1367"/>
                    <a:gd name="T25" fmla="*/ 947 h 1264"/>
                    <a:gd name="T26" fmla="*/ 1277 w 1367"/>
                    <a:gd name="T27" fmla="*/ 942 h 1264"/>
                    <a:gd name="T28" fmla="*/ 1260 w 1367"/>
                    <a:gd name="T29" fmla="*/ 940 h 1264"/>
                    <a:gd name="T30" fmla="*/ 1245 w 1367"/>
                    <a:gd name="T31" fmla="*/ 940 h 1264"/>
                    <a:gd name="T32" fmla="*/ 1209 w 1367"/>
                    <a:gd name="T33" fmla="*/ 943 h 1264"/>
                    <a:gd name="T34" fmla="*/ 1298 w 1367"/>
                    <a:gd name="T35" fmla="*/ 810 h 1264"/>
                    <a:gd name="T36" fmla="*/ 1315 w 1367"/>
                    <a:gd name="T37" fmla="*/ 791 h 1264"/>
                    <a:gd name="T38" fmla="*/ 524 w 1367"/>
                    <a:gd name="T39" fmla="*/ 0 h 1264"/>
                    <a:gd name="T40" fmla="*/ 506 w 1367"/>
                    <a:gd name="T41" fmla="*/ 18 h 1264"/>
                    <a:gd name="T42" fmla="*/ 1 w 1367"/>
                    <a:gd name="T43" fmla="*/ 1238 h 1264"/>
                    <a:gd name="T44" fmla="*/ 0 w 1367"/>
                    <a:gd name="T45" fmla="*/ 1264 h 1264"/>
                    <a:gd name="T46" fmla="*/ 1119 w 1367"/>
                    <a:gd name="T47" fmla="*/ 1264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7" h="1264">
                      <a:moveTo>
                        <a:pt x="1119" y="1264"/>
                      </a:moveTo>
                      <a:cubicBezTo>
                        <a:pt x="1120" y="1255"/>
                        <a:pt x="1120" y="1247"/>
                        <a:pt x="1121" y="1238"/>
                      </a:cubicBezTo>
                      <a:cubicBezTo>
                        <a:pt x="1126" y="1186"/>
                        <a:pt x="1136" y="1133"/>
                        <a:pt x="1152" y="1081"/>
                      </a:cubicBezTo>
                      <a:cubicBezTo>
                        <a:pt x="1175" y="1109"/>
                        <a:pt x="1175" y="1109"/>
                        <a:pt x="1175" y="1109"/>
                      </a:cubicBezTo>
                      <a:cubicBezTo>
                        <a:pt x="1183" y="1119"/>
                        <a:pt x="1193" y="1127"/>
                        <a:pt x="1204" y="1133"/>
                      </a:cubicBezTo>
                      <a:cubicBezTo>
                        <a:pt x="1207" y="1135"/>
                        <a:pt x="1211" y="1137"/>
                        <a:pt x="1215" y="1138"/>
                      </a:cubicBezTo>
                      <a:cubicBezTo>
                        <a:pt x="1240" y="1149"/>
                        <a:pt x="1268" y="1149"/>
                        <a:pt x="1294" y="1138"/>
                      </a:cubicBezTo>
                      <a:cubicBezTo>
                        <a:pt x="1300" y="1136"/>
                        <a:pt x="1306" y="1132"/>
                        <a:pt x="1312" y="1129"/>
                      </a:cubicBezTo>
                      <a:cubicBezTo>
                        <a:pt x="1328" y="1117"/>
                        <a:pt x="1342" y="1101"/>
                        <a:pt x="1349" y="1082"/>
                      </a:cubicBezTo>
                      <a:cubicBezTo>
                        <a:pt x="1350" y="1082"/>
                        <a:pt x="1350" y="1082"/>
                        <a:pt x="1350" y="1082"/>
                      </a:cubicBezTo>
                      <a:cubicBezTo>
                        <a:pt x="1367" y="1041"/>
                        <a:pt x="1355" y="993"/>
                        <a:pt x="1321" y="964"/>
                      </a:cubicBezTo>
                      <a:cubicBezTo>
                        <a:pt x="1318" y="962"/>
                        <a:pt x="1315" y="960"/>
                        <a:pt x="1312" y="958"/>
                      </a:cubicBezTo>
                      <a:cubicBezTo>
                        <a:pt x="1306" y="954"/>
                        <a:pt x="1300" y="950"/>
                        <a:pt x="1294" y="947"/>
                      </a:cubicBezTo>
                      <a:cubicBezTo>
                        <a:pt x="1288" y="945"/>
                        <a:pt x="1283" y="944"/>
                        <a:pt x="1277" y="942"/>
                      </a:cubicBezTo>
                      <a:cubicBezTo>
                        <a:pt x="1272" y="941"/>
                        <a:pt x="1266" y="940"/>
                        <a:pt x="1260" y="940"/>
                      </a:cubicBezTo>
                      <a:cubicBezTo>
                        <a:pt x="1255" y="940"/>
                        <a:pt x="1250" y="940"/>
                        <a:pt x="1245" y="940"/>
                      </a:cubicBezTo>
                      <a:cubicBezTo>
                        <a:pt x="1209" y="943"/>
                        <a:pt x="1209" y="943"/>
                        <a:pt x="1209" y="943"/>
                      </a:cubicBezTo>
                      <a:cubicBezTo>
                        <a:pt x="1234" y="895"/>
                        <a:pt x="1264" y="851"/>
                        <a:pt x="1298" y="810"/>
                      </a:cubicBezTo>
                      <a:cubicBezTo>
                        <a:pt x="1304" y="804"/>
                        <a:pt x="1309" y="797"/>
                        <a:pt x="1315" y="791"/>
                      </a:cubicBezTo>
                      <a:cubicBezTo>
                        <a:pt x="524" y="0"/>
                        <a:pt x="524" y="0"/>
                        <a:pt x="524" y="0"/>
                      </a:cubicBezTo>
                      <a:cubicBezTo>
                        <a:pt x="518" y="6"/>
                        <a:pt x="512" y="12"/>
                        <a:pt x="506" y="18"/>
                      </a:cubicBezTo>
                      <a:cubicBezTo>
                        <a:pt x="206" y="341"/>
                        <a:pt x="18" y="768"/>
                        <a:pt x="1" y="1238"/>
                      </a:cubicBezTo>
                      <a:cubicBezTo>
                        <a:pt x="0" y="1247"/>
                        <a:pt x="1" y="1255"/>
                        <a:pt x="0" y="1264"/>
                      </a:cubicBezTo>
                      <a:cubicBezTo>
                        <a:pt x="1119" y="1264"/>
                        <a:pt x="1119" y="1264"/>
                        <a:pt x="1119" y="1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325">
                  <a:extLst>
                    <a:ext uri="{FF2B5EF4-FFF2-40B4-BE49-F238E27FC236}">
                      <a16:creationId xmlns:a16="http://schemas.microsoft.com/office/drawing/2014/main" id="{132BD73B-21AD-437D-A7A3-F950D7AED87C}"/>
                    </a:ext>
                  </a:extLst>
                </p:cNvPr>
                <p:cNvSpPr>
                  <a:spLocks/>
                </p:cNvSpPr>
                <p:nvPr/>
              </p:nvSpPr>
              <p:spPr bwMode="auto">
                <a:xfrm>
                  <a:off x="3785233" y="2502327"/>
                  <a:ext cx="1577041" cy="1450036"/>
                </a:xfrm>
                <a:custGeom>
                  <a:avLst/>
                  <a:gdLst>
                    <a:gd name="T0" fmla="*/ 506 w 1330"/>
                    <a:gd name="T1" fmla="*/ 0 h 1223"/>
                    <a:gd name="T2" fmla="*/ 501 w 1330"/>
                    <a:gd name="T3" fmla="*/ 6 h 1223"/>
                    <a:gd name="T4" fmla="*/ 501 w 1330"/>
                    <a:gd name="T5" fmla="*/ 6 h 1223"/>
                    <a:gd name="T6" fmla="*/ 170 w 1330"/>
                    <a:gd name="T7" fmla="*/ 499 h 1223"/>
                    <a:gd name="T8" fmla="*/ 169 w 1330"/>
                    <a:gd name="T9" fmla="*/ 502 h 1223"/>
                    <a:gd name="T10" fmla="*/ 169 w 1330"/>
                    <a:gd name="T11" fmla="*/ 502 h 1223"/>
                    <a:gd name="T12" fmla="*/ 148 w 1330"/>
                    <a:gd name="T13" fmla="*/ 549 h 1223"/>
                    <a:gd name="T14" fmla="*/ 147 w 1330"/>
                    <a:gd name="T15" fmla="*/ 550 h 1223"/>
                    <a:gd name="T16" fmla="*/ 141 w 1330"/>
                    <a:gd name="T17" fmla="*/ 566 h 1223"/>
                    <a:gd name="T18" fmla="*/ 0 w 1330"/>
                    <a:gd name="T19" fmla="*/ 1215 h 1223"/>
                    <a:gd name="T20" fmla="*/ 0 w 1330"/>
                    <a:gd name="T21" fmla="*/ 1218 h 1223"/>
                    <a:gd name="T22" fmla="*/ 0 w 1330"/>
                    <a:gd name="T23" fmla="*/ 1223 h 1223"/>
                    <a:gd name="T24" fmla="*/ 1085 w 1330"/>
                    <a:gd name="T25" fmla="*/ 1223 h 1223"/>
                    <a:gd name="T26" fmla="*/ 1085 w 1330"/>
                    <a:gd name="T27" fmla="*/ 1223 h 1223"/>
                    <a:gd name="T28" fmla="*/ 1086 w 1330"/>
                    <a:gd name="T29" fmla="*/ 1213 h 1223"/>
                    <a:gd name="T30" fmla="*/ 1094 w 1330"/>
                    <a:gd name="T31" fmla="*/ 1148 h 1223"/>
                    <a:gd name="T32" fmla="*/ 1117 w 1330"/>
                    <a:gd name="T33" fmla="*/ 1052 h 1223"/>
                    <a:gd name="T34" fmla="*/ 1126 w 1330"/>
                    <a:gd name="T35" fmla="*/ 1022 h 1223"/>
                    <a:gd name="T36" fmla="*/ 1170 w 1330"/>
                    <a:gd name="T37" fmla="*/ 1074 h 1223"/>
                    <a:gd name="T38" fmla="*/ 1194 w 1330"/>
                    <a:gd name="T39" fmla="*/ 1094 h 1223"/>
                    <a:gd name="T40" fmla="*/ 1203 w 1330"/>
                    <a:gd name="T41" fmla="*/ 1098 h 1223"/>
                    <a:gd name="T42" fmla="*/ 1236 w 1330"/>
                    <a:gd name="T43" fmla="*/ 1105 h 1223"/>
                    <a:gd name="T44" fmla="*/ 1269 w 1330"/>
                    <a:gd name="T45" fmla="*/ 1098 h 1223"/>
                    <a:gd name="T46" fmla="*/ 1284 w 1330"/>
                    <a:gd name="T47" fmla="*/ 1090 h 1223"/>
                    <a:gd name="T48" fmla="*/ 1307 w 1330"/>
                    <a:gd name="T49" fmla="*/ 1068 h 1223"/>
                    <a:gd name="T50" fmla="*/ 1316 w 1330"/>
                    <a:gd name="T51" fmla="*/ 1052 h 1223"/>
                    <a:gd name="T52" fmla="*/ 1292 w 1330"/>
                    <a:gd name="T53" fmla="*/ 953 h 1223"/>
                    <a:gd name="T54" fmla="*/ 1292 w 1330"/>
                    <a:gd name="T55" fmla="*/ 953 h 1223"/>
                    <a:gd name="T56" fmla="*/ 1292 w 1330"/>
                    <a:gd name="T57" fmla="*/ 953 h 1223"/>
                    <a:gd name="T58" fmla="*/ 1288 w 1330"/>
                    <a:gd name="T59" fmla="*/ 950 h 1223"/>
                    <a:gd name="T60" fmla="*/ 1285 w 1330"/>
                    <a:gd name="T61" fmla="*/ 949 h 1223"/>
                    <a:gd name="T62" fmla="*/ 1285 w 1330"/>
                    <a:gd name="T63" fmla="*/ 949 h 1223"/>
                    <a:gd name="T64" fmla="*/ 1269 w 1330"/>
                    <a:gd name="T65" fmla="*/ 939 h 1223"/>
                    <a:gd name="T66" fmla="*/ 1255 w 1330"/>
                    <a:gd name="T67" fmla="*/ 935 h 1223"/>
                    <a:gd name="T68" fmla="*/ 1246 w 1330"/>
                    <a:gd name="T69" fmla="*/ 933 h 1223"/>
                    <a:gd name="T70" fmla="*/ 1241 w 1330"/>
                    <a:gd name="T71" fmla="*/ 933 h 1223"/>
                    <a:gd name="T72" fmla="*/ 1241 w 1330"/>
                    <a:gd name="T73" fmla="*/ 933 h 1223"/>
                    <a:gd name="T74" fmla="*/ 1235 w 1330"/>
                    <a:gd name="T75" fmla="*/ 933 h 1223"/>
                    <a:gd name="T76" fmla="*/ 1228 w 1330"/>
                    <a:gd name="T77" fmla="*/ 933 h 1223"/>
                    <a:gd name="T78" fmla="*/ 1228 w 1330"/>
                    <a:gd name="T79" fmla="*/ 933 h 1223"/>
                    <a:gd name="T80" fmla="*/ 1160 w 1330"/>
                    <a:gd name="T81" fmla="*/ 939 h 1223"/>
                    <a:gd name="T82" fmla="*/ 1160 w 1330"/>
                    <a:gd name="T83" fmla="*/ 939 h 1223"/>
                    <a:gd name="T84" fmla="*/ 1160 w 1330"/>
                    <a:gd name="T85" fmla="*/ 939 h 1223"/>
                    <a:gd name="T86" fmla="*/ 1175 w 1330"/>
                    <a:gd name="T87" fmla="*/ 911 h 1223"/>
                    <a:gd name="T88" fmla="*/ 1175 w 1330"/>
                    <a:gd name="T89" fmla="*/ 911 h 1223"/>
                    <a:gd name="T90" fmla="*/ 1265 w 1330"/>
                    <a:gd name="T91" fmla="*/ 777 h 1223"/>
                    <a:gd name="T92" fmla="*/ 1266 w 1330"/>
                    <a:gd name="T93" fmla="*/ 776 h 1223"/>
                    <a:gd name="T94" fmla="*/ 1266 w 1330"/>
                    <a:gd name="T95" fmla="*/ 776 h 1223"/>
                    <a:gd name="T96" fmla="*/ 1267 w 1330"/>
                    <a:gd name="T97" fmla="*/ 775 h 1223"/>
                    <a:gd name="T98" fmla="*/ 1273 w 1330"/>
                    <a:gd name="T99" fmla="*/ 768 h 1223"/>
                    <a:gd name="T100" fmla="*/ 506 w 1330"/>
                    <a:gd name="T101" fmla="*/ 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0" h="1223">
                      <a:moveTo>
                        <a:pt x="506" y="0"/>
                      </a:moveTo>
                      <a:cubicBezTo>
                        <a:pt x="504" y="2"/>
                        <a:pt x="503" y="4"/>
                        <a:pt x="501" y="6"/>
                      </a:cubicBezTo>
                      <a:cubicBezTo>
                        <a:pt x="501" y="6"/>
                        <a:pt x="501" y="6"/>
                        <a:pt x="501" y="6"/>
                      </a:cubicBezTo>
                      <a:cubicBezTo>
                        <a:pt x="364" y="153"/>
                        <a:pt x="253" y="318"/>
                        <a:pt x="170" y="499"/>
                      </a:cubicBezTo>
                      <a:cubicBezTo>
                        <a:pt x="170" y="500"/>
                        <a:pt x="169" y="501"/>
                        <a:pt x="169" y="502"/>
                      </a:cubicBezTo>
                      <a:cubicBezTo>
                        <a:pt x="169" y="502"/>
                        <a:pt x="169" y="502"/>
                        <a:pt x="169" y="502"/>
                      </a:cubicBezTo>
                      <a:cubicBezTo>
                        <a:pt x="162" y="518"/>
                        <a:pt x="155" y="533"/>
                        <a:pt x="148" y="549"/>
                      </a:cubicBezTo>
                      <a:cubicBezTo>
                        <a:pt x="148" y="549"/>
                        <a:pt x="148" y="550"/>
                        <a:pt x="147" y="550"/>
                      </a:cubicBezTo>
                      <a:cubicBezTo>
                        <a:pt x="145" y="556"/>
                        <a:pt x="143" y="561"/>
                        <a:pt x="141" y="566"/>
                      </a:cubicBezTo>
                      <a:cubicBezTo>
                        <a:pt x="55" y="772"/>
                        <a:pt x="8" y="990"/>
                        <a:pt x="0" y="1215"/>
                      </a:cubicBezTo>
                      <a:cubicBezTo>
                        <a:pt x="0" y="1216"/>
                        <a:pt x="0" y="1217"/>
                        <a:pt x="0" y="1218"/>
                      </a:cubicBezTo>
                      <a:cubicBezTo>
                        <a:pt x="0" y="1220"/>
                        <a:pt x="0" y="1221"/>
                        <a:pt x="0" y="1223"/>
                      </a:cubicBezTo>
                      <a:cubicBezTo>
                        <a:pt x="1085" y="1223"/>
                        <a:pt x="1085" y="1223"/>
                        <a:pt x="1085" y="1223"/>
                      </a:cubicBezTo>
                      <a:cubicBezTo>
                        <a:pt x="1085" y="1223"/>
                        <a:pt x="1085" y="1223"/>
                        <a:pt x="1085" y="1223"/>
                      </a:cubicBezTo>
                      <a:cubicBezTo>
                        <a:pt x="1085" y="1219"/>
                        <a:pt x="1085" y="1216"/>
                        <a:pt x="1086" y="1213"/>
                      </a:cubicBezTo>
                      <a:cubicBezTo>
                        <a:pt x="1088" y="1191"/>
                        <a:pt x="1091" y="1169"/>
                        <a:pt x="1094" y="1148"/>
                      </a:cubicBezTo>
                      <a:cubicBezTo>
                        <a:pt x="1100" y="1115"/>
                        <a:pt x="1107" y="1083"/>
                        <a:pt x="1117" y="1052"/>
                      </a:cubicBezTo>
                      <a:cubicBezTo>
                        <a:pt x="1126" y="1022"/>
                        <a:pt x="1126" y="1022"/>
                        <a:pt x="1126" y="1022"/>
                      </a:cubicBezTo>
                      <a:cubicBezTo>
                        <a:pt x="1170" y="1074"/>
                        <a:pt x="1170" y="1074"/>
                        <a:pt x="1170" y="1074"/>
                      </a:cubicBezTo>
                      <a:cubicBezTo>
                        <a:pt x="1177" y="1082"/>
                        <a:pt x="1185" y="1089"/>
                        <a:pt x="1194" y="1094"/>
                      </a:cubicBezTo>
                      <a:cubicBezTo>
                        <a:pt x="1197" y="1095"/>
                        <a:pt x="1200" y="1097"/>
                        <a:pt x="1203" y="1098"/>
                      </a:cubicBezTo>
                      <a:cubicBezTo>
                        <a:pt x="1214" y="1103"/>
                        <a:pt x="1225" y="1105"/>
                        <a:pt x="1236" y="1105"/>
                      </a:cubicBezTo>
                      <a:cubicBezTo>
                        <a:pt x="1247" y="1105"/>
                        <a:pt x="1258" y="1103"/>
                        <a:pt x="1269" y="1098"/>
                      </a:cubicBezTo>
                      <a:cubicBezTo>
                        <a:pt x="1274" y="1096"/>
                        <a:pt x="1279" y="1093"/>
                        <a:pt x="1284" y="1090"/>
                      </a:cubicBezTo>
                      <a:cubicBezTo>
                        <a:pt x="1293" y="1084"/>
                        <a:pt x="1301" y="1077"/>
                        <a:pt x="1307" y="1068"/>
                      </a:cubicBezTo>
                      <a:cubicBezTo>
                        <a:pt x="1310" y="1063"/>
                        <a:pt x="1313" y="1057"/>
                        <a:pt x="1316" y="1052"/>
                      </a:cubicBezTo>
                      <a:cubicBezTo>
                        <a:pt x="1330" y="1017"/>
                        <a:pt x="1320" y="978"/>
                        <a:pt x="1292" y="953"/>
                      </a:cubicBezTo>
                      <a:cubicBezTo>
                        <a:pt x="1292" y="953"/>
                        <a:pt x="1292" y="953"/>
                        <a:pt x="1292" y="953"/>
                      </a:cubicBezTo>
                      <a:cubicBezTo>
                        <a:pt x="1292" y="953"/>
                        <a:pt x="1292" y="953"/>
                        <a:pt x="1292" y="953"/>
                      </a:cubicBezTo>
                      <a:cubicBezTo>
                        <a:pt x="1291" y="952"/>
                        <a:pt x="1289" y="951"/>
                        <a:pt x="1288" y="950"/>
                      </a:cubicBezTo>
                      <a:cubicBezTo>
                        <a:pt x="1287" y="950"/>
                        <a:pt x="1286" y="949"/>
                        <a:pt x="1285" y="949"/>
                      </a:cubicBezTo>
                      <a:cubicBezTo>
                        <a:pt x="1285" y="949"/>
                        <a:pt x="1285" y="949"/>
                        <a:pt x="1285" y="949"/>
                      </a:cubicBezTo>
                      <a:cubicBezTo>
                        <a:pt x="1279" y="944"/>
                        <a:pt x="1274" y="941"/>
                        <a:pt x="1269" y="939"/>
                      </a:cubicBezTo>
                      <a:cubicBezTo>
                        <a:pt x="1265" y="938"/>
                        <a:pt x="1261" y="936"/>
                        <a:pt x="1255" y="935"/>
                      </a:cubicBezTo>
                      <a:cubicBezTo>
                        <a:pt x="1252" y="934"/>
                        <a:pt x="1249" y="934"/>
                        <a:pt x="1246" y="933"/>
                      </a:cubicBezTo>
                      <a:cubicBezTo>
                        <a:pt x="1244" y="933"/>
                        <a:pt x="1243" y="933"/>
                        <a:pt x="1241" y="933"/>
                      </a:cubicBezTo>
                      <a:cubicBezTo>
                        <a:pt x="1241" y="933"/>
                        <a:pt x="1241" y="933"/>
                        <a:pt x="1241" y="933"/>
                      </a:cubicBezTo>
                      <a:cubicBezTo>
                        <a:pt x="1239" y="933"/>
                        <a:pt x="1237" y="933"/>
                        <a:pt x="1235" y="933"/>
                      </a:cubicBezTo>
                      <a:cubicBezTo>
                        <a:pt x="1233" y="933"/>
                        <a:pt x="1230" y="933"/>
                        <a:pt x="1228" y="933"/>
                      </a:cubicBezTo>
                      <a:cubicBezTo>
                        <a:pt x="1228" y="933"/>
                        <a:pt x="1228" y="933"/>
                        <a:pt x="1228" y="933"/>
                      </a:cubicBezTo>
                      <a:cubicBezTo>
                        <a:pt x="1160" y="939"/>
                        <a:pt x="1160" y="939"/>
                        <a:pt x="1160" y="939"/>
                      </a:cubicBezTo>
                      <a:cubicBezTo>
                        <a:pt x="1160" y="939"/>
                        <a:pt x="1160" y="939"/>
                        <a:pt x="1160" y="939"/>
                      </a:cubicBezTo>
                      <a:cubicBezTo>
                        <a:pt x="1160" y="939"/>
                        <a:pt x="1160" y="939"/>
                        <a:pt x="1160" y="939"/>
                      </a:cubicBezTo>
                      <a:cubicBezTo>
                        <a:pt x="1175" y="911"/>
                        <a:pt x="1175" y="911"/>
                        <a:pt x="1175" y="911"/>
                      </a:cubicBezTo>
                      <a:cubicBezTo>
                        <a:pt x="1175" y="911"/>
                        <a:pt x="1175" y="911"/>
                        <a:pt x="1175" y="911"/>
                      </a:cubicBezTo>
                      <a:cubicBezTo>
                        <a:pt x="1200" y="864"/>
                        <a:pt x="1231" y="819"/>
                        <a:pt x="1265" y="777"/>
                      </a:cubicBezTo>
                      <a:cubicBezTo>
                        <a:pt x="1266" y="777"/>
                        <a:pt x="1266" y="777"/>
                        <a:pt x="1266" y="776"/>
                      </a:cubicBezTo>
                      <a:cubicBezTo>
                        <a:pt x="1266" y="776"/>
                        <a:pt x="1266" y="776"/>
                        <a:pt x="1266" y="776"/>
                      </a:cubicBezTo>
                      <a:cubicBezTo>
                        <a:pt x="1267" y="776"/>
                        <a:pt x="1267" y="776"/>
                        <a:pt x="1267" y="775"/>
                      </a:cubicBezTo>
                      <a:cubicBezTo>
                        <a:pt x="1269" y="773"/>
                        <a:pt x="1271" y="770"/>
                        <a:pt x="1273" y="768"/>
                      </a:cubicBezTo>
                      <a:cubicBezTo>
                        <a:pt x="506" y="0"/>
                        <a:pt x="506" y="0"/>
                        <a:pt x="50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328">
                  <a:extLst>
                    <a:ext uri="{FF2B5EF4-FFF2-40B4-BE49-F238E27FC236}">
                      <a16:creationId xmlns:a16="http://schemas.microsoft.com/office/drawing/2014/main" id="{1F4565B7-3F32-4A62-AC68-DCF956735DC8}"/>
                    </a:ext>
                  </a:extLst>
                </p:cNvPr>
                <p:cNvSpPr>
                  <a:spLocks/>
                </p:cNvSpPr>
                <p:nvPr/>
              </p:nvSpPr>
              <p:spPr bwMode="auto">
                <a:xfrm>
                  <a:off x="4457997" y="1780212"/>
                  <a:ext cx="1498661" cy="1611151"/>
                </a:xfrm>
                <a:custGeom>
                  <a:avLst/>
                  <a:gdLst>
                    <a:gd name="T0" fmla="*/ 791 w 1264"/>
                    <a:gd name="T1" fmla="*/ 1315 h 1359"/>
                    <a:gd name="T2" fmla="*/ 810 w 1264"/>
                    <a:gd name="T3" fmla="*/ 1298 h 1359"/>
                    <a:gd name="T4" fmla="*/ 943 w 1264"/>
                    <a:gd name="T5" fmla="*/ 1209 h 1359"/>
                    <a:gd name="T6" fmla="*/ 940 w 1264"/>
                    <a:gd name="T7" fmla="*/ 1245 h 1359"/>
                    <a:gd name="T8" fmla="*/ 943 w 1264"/>
                    <a:gd name="T9" fmla="*/ 1282 h 1359"/>
                    <a:gd name="T10" fmla="*/ 947 w 1264"/>
                    <a:gd name="T11" fmla="*/ 1294 h 1359"/>
                    <a:gd name="T12" fmla="*/ 1003 w 1264"/>
                    <a:gd name="T13" fmla="*/ 1350 h 1359"/>
                    <a:gd name="T14" fmla="*/ 1023 w 1264"/>
                    <a:gd name="T15" fmla="*/ 1355 h 1359"/>
                    <a:gd name="T16" fmla="*/ 1082 w 1264"/>
                    <a:gd name="T17" fmla="*/ 1350 h 1359"/>
                    <a:gd name="T18" fmla="*/ 1082 w 1264"/>
                    <a:gd name="T19" fmla="*/ 1350 h 1359"/>
                    <a:gd name="T20" fmla="*/ 1146 w 1264"/>
                    <a:gd name="T21" fmla="*/ 1246 h 1359"/>
                    <a:gd name="T22" fmla="*/ 1144 w 1264"/>
                    <a:gd name="T23" fmla="*/ 1235 h 1359"/>
                    <a:gd name="T24" fmla="*/ 1138 w 1264"/>
                    <a:gd name="T25" fmla="*/ 1215 h 1359"/>
                    <a:gd name="T26" fmla="*/ 1130 w 1264"/>
                    <a:gd name="T27" fmla="*/ 1199 h 1359"/>
                    <a:gd name="T28" fmla="*/ 1120 w 1264"/>
                    <a:gd name="T29" fmla="*/ 1186 h 1359"/>
                    <a:gd name="T30" fmla="*/ 1109 w 1264"/>
                    <a:gd name="T31" fmla="*/ 1175 h 1359"/>
                    <a:gd name="T32" fmla="*/ 1081 w 1264"/>
                    <a:gd name="T33" fmla="*/ 1152 h 1359"/>
                    <a:gd name="T34" fmla="*/ 1238 w 1264"/>
                    <a:gd name="T35" fmla="*/ 1121 h 1359"/>
                    <a:gd name="T36" fmla="*/ 1264 w 1264"/>
                    <a:gd name="T37" fmla="*/ 1119 h 1359"/>
                    <a:gd name="T38" fmla="*/ 1264 w 1264"/>
                    <a:gd name="T39" fmla="*/ 0 h 1359"/>
                    <a:gd name="T40" fmla="*/ 1238 w 1264"/>
                    <a:gd name="T41" fmla="*/ 1 h 1359"/>
                    <a:gd name="T42" fmla="*/ 18 w 1264"/>
                    <a:gd name="T43" fmla="*/ 506 h 1359"/>
                    <a:gd name="T44" fmla="*/ 0 w 1264"/>
                    <a:gd name="T45" fmla="*/ 524 h 1359"/>
                    <a:gd name="T46" fmla="*/ 791 w 1264"/>
                    <a:gd name="T47" fmla="*/ 1315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4" h="1359">
                      <a:moveTo>
                        <a:pt x="791" y="1315"/>
                      </a:moveTo>
                      <a:cubicBezTo>
                        <a:pt x="797" y="1309"/>
                        <a:pt x="804" y="1304"/>
                        <a:pt x="810" y="1298"/>
                      </a:cubicBezTo>
                      <a:cubicBezTo>
                        <a:pt x="851" y="1264"/>
                        <a:pt x="895" y="1234"/>
                        <a:pt x="943" y="1209"/>
                      </a:cubicBezTo>
                      <a:cubicBezTo>
                        <a:pt x="940" y="1245"/>
                        <a:pt x="940" y="1245"/>
                        <a:pt x="940" y="1245"/>
                      </a:cubicBezTo>
                      <a:cubicBezTo>
                        <a:pt x="939" y="1257"/>
                        <a:pt x="940" y="1270"/>
                        <a:pt x="943" y="1282"/>
                      </a:cubicBezTo>
                      <a:cubicBezTo>
                        <a:pt x="945" y="1286"/>
                        <a:pt x="946" y="1290"/>
                        <a:pt x="947" y="1294"/>
                      </a:cubicBezTo>
                      <a:cubicBezTo>
                        <a:pt x="958" y="1319"/>
                        <a:pt x="978" y="1339"/>
                        <a:pt x="1003" y="1350"/>
                      </a:cubicBezTo>
                      <a:cubicBezTo>
                        <a:pt x="1010" y="1352"/>
                        <a:pt x="1016" y="1354"/>
                        <a:pt x="1023" y="1355"/>
                      </a:cubicBezTo>
                      <a:cubicBezTo>
                        <a:pt x="1043" y="1359"/>
                        <a:pt x="1063" y="1357"/>
                        <a:pt x="1082" y="1350"/>
                      </a:cubicBezTo>
                      <a:cubicBezTo>
                        <a:pt x="1082" y="1350"/>
                        <a:pt x="1082" y="1350"/>
                        <a:pt x="1082" y="1350"/>
                      </a:cubicBezTo>
                      <a:cubicBezTo>
                        <a:pt x="1124" y="1332"/>
                        <a:pt x="1149" y="1291"/>
                        <a:pt x="1146" y="1246"/>
                      </a:cubicBezTo>
                      <a:cubicBezTo>
                        <a:pt x="1145" y="1242"/>
                        <a:pt x="1145" y="1239"/>
                        <a:pt x="1144" y="1235"/>
                      </a:cubicBezTo>
                      <a:cubicBezTo>
                        <a:pt x="1143" y="1228"/>
                        <a:pt x="1141" y="1221"/>
                        <a:pt x="1138" y="1215"/>
                      </a:cubicBezTo>
                      <a:cubicBezTo>
                        <a:pt x="1136" y="1209"/>
                        <a:pt x="1133" y="1204"/>
                        <a:pt x="1130" y="1199"/>
                      </a:cubicBezTo>
                      <a:cubicBezTo>
                        <a:pt x="1127" y="1195"/>
                        <a:pt x="1124" y="1190"/>
                        <a:pt x="1120" y="1186"/>
                      </a:cubicBezTo>
                      <a:cubicBezTo>
                        <a:pt x="1116" y="1182"/>
                        <a:pt x="1113" y="1178"/>
                        <a:pt x="1109" y="1175"/>
                      </a:cubicBezTo>
                      <a:cubicBezTo>
                        <a:pt x="1081" y="1152"/>
                        <a:pt x="1081" y="1152"/>
                        <a:pt x="1081" y="1152"/>
                      </a:cubicBezTo>
                      <a:cubicBezTo>
                        <a:pt x="1133" y="1136"/>
                        <a:pt x="1186" y="1126"/>
                        <a:pt x="1238" y="1121"/>
                      </a:cubicBezTo>
                      <a:cubicBezTo>
                        <a:pt x="1247" y="1120"/>
                        <a:pt x="1255" y="1120"/>
                        <a:pt x="1264" y="1119"/>
                      </a:cubicBezTo>
                      <a:cubicBezTo>
                        <a:pt x="1264" y="0"/>
                        <a:pt x="1264" y="0"/>
                        <a:pt x="1264" y="0"/>
                      </a:cubicBezTo>
                      <a:cubicBezTo>
                        <a:pt x="1255" y="1"/>
                        <a:pt x="1247" y="1"/>
                        <a:pt x="1238" y="1"/>
                      </a:cubicBezTo>
                      <a:cubicBezTo>
                        <a:pt x="798" y="17"/>
                        <a:pt x="363" y="185"/>
                        <a:pt x="18" y="506"/>
                      </a:cubicBezTo>
                      <a:cubicBezTo>
                        <a:pt x="12" y="512"/>
                        <a:pt x="6" y="518"/>
                        <a:pt x="0" y="524"/>
                      </a:cubicBezTo>
                      <a:cubicBezTo>
                        <a:pt x="791" y="1315"/>
                        <a:pt x="791" y="1315"/>
                        <a:pt x="791" y="131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344">
                  <a:extLst>
                    <a:ext uri="{FF2B5EF4-FFF2-40B4-BE49-F238E27FC236}">
                      <a16:creationId xmlns:a16="http://schemas.microsoft.com/office/drawing/2014/main" id="{B9023EE8-2EAF-4B85-8891-81182EE9ED3E}"/>
                    </a:ext>
                  </a:extLst>
                </p:cNvPr>
                <p:cNvSpPr>
                  <a:spLocks/>
                </p:cNvSpPr>
                <p:nvPr/>
              </p:nvSpPr>
              <p:spPr bwMode="auto">
                <a:xfrm>
                  <a:off x="4486301" y="1801259"/>
                  <a:ext cx="1450036" cy="1567607"/>
                </a:xfrm>
                <a:custGeom>
                  <a:avLst/>
                  <a:gdLst>
                    <a:gd name="T0" fmla="*/ 1223 w 1223"/>
                    <a:gd name="T1" fmla="*/ 0 h 1322"/>
                    <a:gd name="T2" fmla="*/ 1223 w 1223"/>
                    <a:gd name="T3" fmla="*/ 0 h 1322"/>
                    <a:gd name="T4" fmla="*/ 1215 w 1223"/>
                    <a:gd name="T5" fmla="*/ 0 h 1322"/>
                    <a:gd name="T6" fmla="*/ 1215 w 1223"/>
                    <a:gd name="T7" fmla="*/ 0 h 1322"/>
                    <a:gd name="T8" fmla="*/ 928 w 1223"/>
                    <a:gd name="T9" fmla="*/ 32 h 1322"/>
                    <a:gd name="T10" fmla="*/ 565 w 1223"/>
                    <a:gd name="T11" fmla="*/ 141 h 1322"/>
                    <a:gd name="T12" fmla="*/ 368 w 1223"/>
                    <a:gd name="T13" fmla="*/ 237 h 1322"/>
                    <a:gd name="T14" fmla="*/ 6 w 1223"/>
                    <a:gd name="T15" fmla="*/ 501 h 1322"/>
                    <a:gd name="T16" fmla="*/ 6 w 1223"/>
                    <a:gd name="T17" fmla="*/ 501 h 1322"/>
                    <a:gd name="T18" fmla="*/ 0 w 1223"/>
                    <a:gd name="T19" fmla="*/ 506 h 1322"/>
                    <a:gd name="T20" fmla="*/ 768 w 1223"/>
                    <a:gd name="T21" fmla="*/ 1274 h 1322"/>
                    <a:gd name="T22" fmla="*/ 768 w 1223"/>
                    <a:gd name="T23" fmla="*/ 1274 h 1322"/>
                    <a:gd name="T24" fmla="*/ 773 w 1223"/>
                    <a:gd name="T25" fmla="*/ 1269 h 1322"/>
                    <a:gd name="T26" fmla="*/ 775 w 1223"/>
                    <a:gd name="T27" fmla="*/ 1267 h 1322"/>
                    <a:gd name="T28" fmla="*/ 911 w 1223"/>
                    <a:gd name="T29" fmla="*/ 1175 h 1322"/>
                    <a:gd name="T30" fmla="*/ 939 w 1223"/>
                    <a:gd name="T31" fmla="*/ 1160 h 1322"/>
                    <a:gd name="T32" fmla="*/ 939 w 1223"/>
                    <a:gd name="T33" fmla="*/ 1161 h 1322"/>
                    <a:gd name="T34" fmla="*/ 939 w 1223"/>
                    <a:gd name="T35" fmla="*/ 1161 h 1322"/>
                    <a:gd name="T36" fmla="*/ 938 w 1223"/>
                    <a:gd name="T37" fmla="*/ 1171 h 1322"/>
                    <a:gd name="T38" fmla="*/ 933 w 1223"/>
                    <a:gd name="T39" fmla="*/ 1228 h 1322"/>
                    <a:gd name="T40" fmla="*/ 933 w 1223"/>
                    <a:gd name="T41" fmla="*/ 1236 h 1322"/>
                    <a:gd name="T42" fmla="*/ 936 w 1223"/>
                    <a:gd name="T43" fmla="*/ 1259 h 1322"/>
                    <a:gd name="T44" fmla="*/ 939 w 1223"/>
                    <a:gd name="T45" fmla="*/ 1269 h 1322"/>
                    <a:gd name="T46" fmla="*/ 986 w 1223"/>
                    <a:gd name="T47" fmla="*/ 1316 h 1322"/>
                    <a:gd name="T48" fmla="*/ 997 w 1223"/>
                    <a:gd name="T49" fmla="*/ 1319 h 1322"/>
                    <a:gd name="T50" fmla="*/ 1002 w 1223"/>
                    <a:gd name="T51" fmla="*/ 1321 h 1322"/>
                    <a:gd name="T52" fmla="*/ 1002 w 1223"/>
                    <a:gd name="T53" fmla="*/ 1321 h 1322"/>
                    <a:gd name="T54" fmla="*/ 1002 w 1223"/>
                    <a:gd name="T55" fmla="*/ 1321 h 1322"/>
                    <a:gd name="T56" fmla="*/ 1003 w 1223"/>
                    <a:gd name="T57" fmla="*/ 1321 h 1322"/>
                    <a:gd name="T58" fmla="*/ 1019 w 1223"/>
                    <a:gd name="T59" fmla="*/ 1322 h 1322"/>
                    <a:gd name="T60" fmla="*/ 1052 w 1223"/>
                    <a:gd name="T61" fmla="*/ 1316 h 1322"/>
                    <a:gd name="T62" fmla="*/ 1105 w 1223"/>
                    <a:gd name="T63" fmla="*/ 1229 h 1322"/>
                    <a:gd name="T64" fmla="*/ 1105 w 1223"/>
                    <a:gd name="T65" fmla="*/ 1229 h 1322"/>
                    <a:gd name="T66" fmla="*/ 1105 w 1223"/>
                    <a:gd name="T67" fmla="*/ 1229 h 1322"/>
                    <a:gd name="T68" fmla="*/ 1103 w 1223"/>
                    <a:gd name="T69" fmla="*/ 1221 h 1322"/>
                    <a:gd name="T70" fmla="*/ 1103 w 1223"/>
                    <a:gd name="T71" fmla="*/ 1219 h 1322"/>
                    <a:gd name="T72" fmla="*/ 1100 w 1223"/>
                    <a:gd name="T73" fmla="*/ 1209 h 1322"/>
                    <a:gd name="T74" fmla="*/ 1098 w 1223"/>
                    <a:gd name="T75" fmla="*/ 1203 h 1322"/>
                    <a:gd name="T76" fmla="*/ 1098 w 1223"/>
                    <a:gd name="T77" fmla="*/ 1203 h 1322"/>
                    <a:gd name="T78" fmla="*/ 1098 w 1223"/>
                    <a:gd name="T79" fmla="*/ 1203 h 1322"/>
                    <a:gd name="T80" fmla="*/ 1092 w 1223"/>
                    <a:gd name="T81" fmla="*/ 1191 h 1322"/>
                    <a:gd name="T82" fmla="*/ 1089 w 1223"/>
                    <a:gd name="T83" fmla="*/ 1187 h 1322"/>
                    <a:gd name="T84" fmla="*/ 1083 w 1223"/>
                    <a:gd name="T85" fmla="*/ 1179 h 1322"/>
                    <a:gd name="T86" fmla="*/ 1077 w 1223"/>
                    <a:gd name="T87" fmla="*/ 1173 h 1322"/>
                    <a:gd name="T88" fmla="*/ 1074 w 1223"/>
                    <a:gd name="T89" fmla="*/ 1170 h 1322"/>
                    <a:gd name="T90" fmla="*/ 1074 w 1223"/>
                    <a:gd name="T91" fmla="*/ 1170 h 1322"/>
                    <a:gd name="T92" fmla="*/ 1021 w 1223"/>
                    <a:gd name="T93" fmla="*/ 1126 h 1322"/>
                    <a:gd name="T94" fmla="*/ 1029 w 1223"/>
                    <a:gd name="T95" fmla="*/ 1124 h 1322"/>
                    <a:gd name="T96" fmla="*/ 1052 w 1223"/>
                    <a:gd name="T97" fmla="*/ 1117 h 1322"/>
                    <a:gd name="T98" fmla="*/ 1213 w 1223"/>
                    <a:gd name="T99" fmla="*/ 1086 h 1322"/>
                    <a:gd name="T100" fmla="*/ 1223 w 1223"/>
                    <a:gd name="T101" fmla="*/ 1085 h 1322"/>
                    <a:gd name="T102" fmla="*/ 1223 w 1223"/>
                    <a:gd name="T103" fmla="*/ 0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3" h="1322">
                      <a:moveTo>
                        <a:pt x="1223" y="0"/>
                      </a:moveTo>
                      <a:cubicBezTo>
                        <a:pt x="1223" y="0"/>
                        <a:pt x="1223" y="0"/>
                        <a:pt x="1223" y="0"/>
                      </a:cubicBezTo>
                      <a:cubicBezTo>
                        <a:pt x="1220" y="0"/>
                        <a:pt x="1218" y="0"/>
                        <a:pt x="1215" y="0"/>
                      </a:cubicBezTo>
                      <a:cubicBezTo>
                        <a:pt x="1215" y="0"/>
                        <a:pt x="1215" y="0"/>
                        <a:pt x="1215" y="0"/>
                      </a:cubicBezTo>
                      <a:cubicBezTo>
                        <a:pt x="1118" y="4"/>
                        <a:pt x="1022" y="14"/>
                        <a:pt x="928" y="32"/>
                      </a:cubicBezTo>
                      <a:cubicBezTo>
                        <a:pt x="804" y="56"/>
                        <a:pt x="682" y="93"/>
                        <a:pt x="565" y="141"/>
                      </a:cubicBezTo>
                      <a:cubicBezTo>
                        <a:pt x="497" y="169"/>
                        <a:pt x="431" y="201"/>
                        <a:pt x="368" y="237"/>
                      </a:cubicBezTo>
                      <a:cubicBezTo>
                        <a:pt x="238" y="309"/>
                        <a:pt x="117" y="398"/>
                        <a:pt x="6" y="501"/>
                      </a:cubicBezTo>
                      <a:cubicBezTo>
                        <a:pt x="6" y="501"/>
                        <a:pt x="6" y="501"/>
                        <a:pt x="6" y="501"/>
                      </a:cubicBezTo>
                      <a:cubicBezTo>
                        <a:pt x="4" y="503"/>
                        <a:pt x="2" y="504"/>
                        <a:pt x="0" y="506"/>
                      </a:cubicBezTo>
                      <a:cubicBezTo>
                        <a:pt x="768" y="1274"/>
                        <a:pt x="768" y="1274"/>
                        <a:pt x="768" y="1274"/>
                      </a:cubicBezTo>
                      <a:cubicBezTo>
                        <a:pt x="768" y="1274"/>
                        <a:pt x="768" y="1274"/>
                        <a:pt x="768" y="1274"/>
                      </a:cubicBezTo>
                      <a:cubicBezTo>
                        <a:pt x="770" y="1272"/>
                        <a:pt x="771" y="1270"/>
                        <a:pt x="773" y="1269"/>
                      </a:cubicBezTo>
                      <a:cubicBezTo>
                        <a:pt x="774" y="1268"/>
                        <a:pt x="775" y="1267"/>
                        <a:pt x="775" y="1267"/>
                      </a:cubicBezTo>
                      <a:cubicBezTo>
                        <a:pt x="818" y="1232"/>
                        <a:pt x="863" y="1201"/>
                        <a:pt x="911" y="1175"/>
                      </a:cubicBezTo>
                      <a:cubicBezTo>
                        <a:pt x="939" y="1160"/>
                        <a:pt x="939" y="1160"/>
                        <a:pt x="939" y="1160"/>
                      </a:cubicBezTo>
                      <a:cubicBezTo>
                        <a:pt x="939" y="1161"/>
                        <a:pt x="939" y="1161"/>
                        <a:pt x="939" y="1161"/>
                      </a:cubicBezTo>
                      <a:cubicBezTo>
                        <a:pt x="939" y="1161"/>
                        <a:pt x="939" y="1161"/>
                        <a:pt x="939" y="1161"/>
                      </a:cubicBezTo>
                      <a:cubicBezTo>
                        <a:pt x="938" y="1171"/>
                        <a:pt x="938" y="1171"/>
                        <a:pt x="938" y="1171"/>
                      </a:cubicBezTo>
                      <a:cubicBezTo>
                        <a:pt x="933" y="1228"/>
                        <a:pt x="933" y="1228"/>
                        <a:pt x="933" y="1228"/>
                      </a:cubicBezTo>
                      <a:cubicBezTo>
                        <a:pt x="933" y="1231"/>
                        <a:pt x="933" y="1234"/>
                        <a:pt x="933" y="1236"/>
                      </a:cubicBezTo>
                      <a:cubicBezTo>
                        <a:pt x="933" y="1244"/>
                        <a:pt x="934" y="1252"/>
                        <a:pt x="936" y="1259"/>
                      </a:cubicBezTo>
                      <a:cubicBezTo>
                        <a:pt x="937" y="1263"/>
                        <a:pt x="938" y="1266"/>
                        <a:pt x="939" y="1269"/>
                      </a:cubicBezTo>
                      <a:cubicBezTo>
                        <a:pt x="948" y="1290"/>
                        <a:pt x="965" y="1307"/>
                        <a:pt x="986" y="1316"/>
                      </a:cubicBezTo>
                      <a:cubicBezTo>
                        <a:pt x="989" y="1317"/>
                        <a:pt x="993" y="1318"/>
                        <a:pt x="997" y="1319"/>
                      </a:cubicBezTo>
                      <a:cubicBezTo>
                        <a:pt x="999" y="1320"/>
                        <a:pt x="1000" y="1320"/>
                        <a:pt x="1002" y="1321"/>
                      </a:cubicBezTo>
                      <a:cubicBezTo>
                        <a:pt x="1002" y="1321"/>
                        <a:pt x="1002" y="1321"/>
                        <a:pt x="1002" y="1321"/>
                      </a:cubicBezTo>
                      <a:cubicBezTo>
                        <a:pt x="1002" y="1321"/>
                        <a:pt x="1002" y="1321"/>
                        <a:pt x="1002" y="1321"/>
                      </a:cubicBezTo>
                      <a:cubicBezTo>
                        <a:pt x="1003" y="1321"/>
                        <a:pt x="1003" y="1321"/>
                        <a:pt x="1003" y="1321"/>
                      </a:cubicBezTo>
                      <a:cubicBezTo>
                        <a:pt x="1008" y="1322"/>
                        <a:pt x="1013" y="1322"/>
                        <a:pt x="1019" y="1322"/>
                      </a:cubicBezTo>
                      <a:cubicBezTo>
                        <a:pt x="1030" y="1322"/>
                        <a:pt x="1041" y="1320"/>
                        <a:pt x="1052" y="1316"/>
                      </a:cubicBezTo>
                      <a:cubicBezTo>
                        <a:pt x="1086" y="1301"/>
                        <a:pt x="1107" y="1267"/>
                        <a:pt x="1105" y="1229"/>
                      </a:cubicBezTo>
                      <a:cubicBezTo>
                        <a:pt x="1105" y="1229"/>
                        <a:pt x="1105" y="1229"/>
                        <a:pt x="1105" y="1229"/>
                      </a:cubicBezTo>
                      <a:cubicBezTo>
                        <a:pt x="1105" y="1229"/>
                        <a:pt x="1105" y="1229"/>
                        <a:pt x="1105" y="1229"/>
                      </a:cubicBezTo>
                      <a:cubicBezTo>
                        <a:pt x="1104" y="1227"/>
                        <a:pt x="1104" y="1224"/>
                        <a:pt x="1103" y="1221"/>
                      </a:cubicBezTo>
                      <a:cubicBezTo>
                        <a:pt x="1103" y="1221"/>
                        <a:pt x="1103" y="1220"/>
                        <a:pt x="1103" y="1219"/>
                      </a:cubicBezTo>
                      <a:cubicBezTo>
                        <a:pt x="1102" y="1215"/>
                        <a:pt x="1101" y="1212"/>
                        <a:pt x="1100" y="1209"/>
                      </a:cubicBezTo>
                      <a:cubicBezTo>
                        <a:pt x="1100" y="1207"/>
                        <a:pt x="1099" y="1205"/>
                        <a:pt x="1098" y="1203"/>
                      </a:cubicBezTo>
                      <a:cubicBezTo>
                        <a:pt x="1098" y="1203"/>
                        <a:pt x="1098" y="1203"/>
                        <a:pt x="1098" y="1203"/>
                      </a:cubicBezTo>
                      <a:cubicBezTo>
                        <a:pt x="1098" y="1203"/>
                        <a:pt x="1098" y="1203"/>
                        <a:pt x="1098" y="1203"/>
                      </a:cubicBezTo>
                      <a:cubicBezTo>
                        <a:pt x="1097" y="1199"/>
                        <a:pt x="1095" y="1195"/>
                        <a:pt x="1092" y="1191"/>
                      </a:cubicBezTo>
                      <a:cubicBezTo>
                        <a:pt x="1091" y="1189"/>
                        <a:pt x="1090" y="1188"/>
                        <a:pt x="1089" y="1187"/>
                      </a:cubicBezTo>
                      <a:cubicBezTo>
                        <a:pt x="1087" y="1184"/>
                        <a:pt x="1085" y="1182"/>
                        <a:pt x="1083" y="1179"/>
                      </a:cubicBezTo>
                      <a:cubicBezTo>
                        <a:pt x="1081" y="1177"/>
                        <a:pt x="1079" y="1175"/>
                        <a:pt x="1077" y="1173"/>
                      </a:cubicBezTo>
                      <a:cubicBezTo>
                        <a:pt x="1076" y="1172"/>
                        <a:pt x="1075" y="1171"/>
                        <a:pt x="1074" y="1170"/>
                      </a:cubicBezTo>
                      <a:cubicBezTo>
                        <a:pt x="1074" y="1170"/>
                        <a:pt x="1074" y="1170"/>
                        <a:pt x="1074" y="1170"/>
                      </a:cubicBezTo>
                      <a:cubicBezTo>
                        <a:pt x="1021" y="1126"/>
                        <a:pt x="1021" y="1126"/>
                        <a:pt x="1021" y="1126"/>
                      </a:cubicBezTo>
                      <a:cubicBezTo>
                        <a:pt x="1029" y="1124"/>
                        <a:pt x="1029" y="1124"/>
                        <a:pt x="1029" y="1124"/>
                      </a:cubicBezTo>
                      <a:cubicBezTo>
                        <a:pt x="1052" y="1117"/>
                        <a:pt x="1052" y="1117"/>
                        <a:pt x="1052" y="1117"/>
                      </a:cubicBezTo>
                      <a:cubicBezTo>
                        <a:pt x="1104" y="1101"/>
                        <a:pt x="1158" y="1091"/>
                        <a:pt x="1213" y="1086"/>
                      </a:cubicBezTo>
                      <a:cubicBezTo>
                        <a:pt x="1216" y="1085"/>
                        <a:pt x="1219" y="1085"/>
                        <a:pt x="1223" y="1085"/>
                      </a:cubicBezTo>
                      <a:cubicBezTo>
                        <a:pt x="1223" y="0"/>
                        <a:pt x="1223" y="0"/>
                        <a:pt x="1223"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6" name="Group 85">
                <a:extLst>
                  <a:ext uri="{FF2B5EF4-FFF2-40B4-BE49-F238E27FC236}">
                    <a16:creationId xmlns:a16="http://schemas.microsoft.com/office/drawing/2014/main" id="{8CA4290D-F9F3-4C0B-A59F-2DFFB700B899}"/>
                  </a:ext>
                </a:extLst>
              </p:cNvPr>
              <p:cNvGrpSpPr/>
              <p:nvPr/>
            </p:nvGrpSpPr>
            <p:grpSpPr>
              <a:xfrm>
                <a:off x="5308405" y="3105858"/>
                <a:ext cx="1576556" cy="1575872"/>
                <a:chOff x="5308405" y="3105858"/>
                <a:chExt cx="1576556" cy="1575872"/>
              </a:xfrm>
              <a:solidFill>
                <a:schemeClr val="accent1"/>
              </a:solidFill>
              <a:effectLst>
                <a:outerShdw blurRad="1270000" dist="38100" dir="8100000" algn="tr" rotWithShape="0">
                  <a:prstClr val="black">
                    <a:alpha val="40000"/>
                  </a:prstClr>
                </a:outerShdw>
              </a:effectLst>
            </p:grpSpPr>
            <p:grpSp>
              <p:nvGrpSpPr>
                <p:cNvPr id="87" name="Group 86">
                  <a:extLst>
                    <a:ext uri="{FF2B5EF4-FFF2-40B4-BE49-F238E27FC236}">
                      <a16:creationId xmlns:a16="http://schemas.microsoft.com/office/drawing/2014/main" id="{45635568-1679-46DD-A4D7-4C8EE53EAC2D}"/>
                    </a:ext>
                  </a:extLst>
                </p:cNvPr>
                <p:cNvGrpSpPr/>
                <p:nvPr/>
              </p:nvGrpSpPr>
              <p:grpSpPr>
                <a:xfrm>
                  <a:off x="5308405" y="3105858"/>
                  <a:ext cx="1576556" cy="1575872"/>
                  <a:chOff x="5171401" y="3187428"/>
                  <a:chExt cx="1673567" cy="1672840"/>
                </a:xfrm>
                <a:grpFill/>
              </p:grpSpPr>
              <p:sp>
                <p:nvSpPr>
                  <p:cNvPr id="89" name="Freeform 178">
                    <a:extLst>
                      <a:ext uri="{FF2B5EF4-FFF2-40B4-BE49-F238E27FC236}">
                        <a16:creationId xmlns:a16="http://schemas.microsoft.com/office/drawing/2014/main" id="{F425418F-4D5F-4ABA-9858-8F9C5171BAFC}"/>
                      </a:ext>
                    </a:extLst>
                  </p:cNvPr>
                  <p:cNvSpPr>
                    <a:spLocks/>
                  </p:cNvSpPr>
                  <p:nvPr/>
                </p:nvSpPr>
                <p:spPr bwMode="auto">
                  <a:xfrm>
                    <a:off x="5171401" y="3187428"/>
                    <a:ext cx="1673565" cy="1672838"/>
                  </a:xfrm>
                  <a:custGeom>
                    <a:avLst/>
                    <a:gdLst>
                      <a:gd name="T0" fmla="*/ 1035 w 1411"/>
                      <a:gd name="T1" fmla="*/ 1184 h 1411"/>
                      <a:gd name="T2" fmla="*/ 903 w 1411"/>
                      <a:gd name="T3" fmla="*/ 1184 h 1411"/>
                      <a:gd name="T4" fmla="*/ 798 w 1411"/>
                      <a:gd name="T5" fmla="*/ 1356 h 1411"/>
                      <a:gd name="T6" fmla="*/ 808 w 1411"/>
                      <a:gd name="T7" fmla="*/ 1403 h 1411"/>
                      <a:gd name="T8" fmla="*/ 705 w 1411"/>
                      <a:gd name="T9" fmla="*/ 1410 h 1411"/>
                      <a:gd name="T10" fmla="*/ 705 w 1411"/>
                      <a:gd name="T11" fmla="*/ 1411 h 1411"/>
                      <a:gd name="T12" fmla="*/ 602 w 1411"/>
                      <a:gd name="T13" fmla="*/ 1403 h 1411"/>
                      <a:gd name="T14" fmla="*/ 600 w 1411"/>
                      <a:gd name="T15" fmla="*/ 1277 h 1411"/>
                      <a:gd name="T16" fmla="*/ 507 w 1411"/>
                      <a:gd name="T17" fmla="*/ 1184 h 1411"/>
                      <a:gd name="T18" fmla="*/ 375 w 1411"/>
                      <a:gd name="T19" fmla="*/ 1184 h 1411"/>
                      <a:gd name="T20" fmla="*/ 310 w 1411"/>
                      <a:gd name="T21" fmla="*/ 1231 h 1411"/>
                      <a:gd name="T22" fmla="*/ 284 w 1411"/>
                      <a:gd name="T23" fmla="*/ 1271 h 1411"/>
                      <a:gd name="T24" fmla="*/ 206 w 1411"/>
                      <a:gd name="T25" fmla="*/ 1204 h 1411"/>
                      <a:gd name="T26" fmla="*/ 206 w 1411"/>
                      <a:gd name="T27" fmla="*/ 1204 h 1411"/>
                      <a:gd name="T28" fmla="*/ 139 w 1411"/>
                      <a:gd name="T29" fmla="*/ 1126 h 1411"/>
                      <a:gd name="T30" fmla="*/ 226 w 1411"/>
                      <a:gd name="T31" fmla="*/ 1035 h 1411"/>
                      <a:gd name="T32" fmla="*/ 226 w 1411"/>
                      <a:gd name="T33" fmla="*/ 903 h 1411"/>
                      <a:gd name="T34" fmla="*/ 54 w 1411"/>
                      <a:gd name="T35" fmla="*/ 798 h 1411"/>
                      <a:gd name="T36" fmla="*/ 7 w 1411"/>
                      <a:gd name="T37" fmla="*/ 808 h 1411"/>
                      <a:gd name="T38" fmla="*/ 0 w 1411"/>
                      <a:gd name="T39" fmla="*/ 705 h 1411"/>
                      <a:gd name="T40" fmla="*/ 0 w 1411"/>
                      <a:gd name="T41" fmla="*/ 705 h 1411"/>
                      <a:gd name="T42" fmla="*/ 7 w 1411"/>
                      <a:gd name="T43" fmla="*/ 602 h 1411"/>
                      <a:gd name="T44" fmla="*/ 133 w 1411"/>
                      <a:gd name="T45" fmla="*/ 600 h 1411"/>
                      <a:gd name="T46" fmla="*/ 226 w 1411"/>
                      <a:gd name="T47" fmla="*/ 507 h 1411"/>
                      <a:gd name="T48" fmla="*/ 179 w 1411"/>
                      <a:gd name="T49" fmla="*/ 310 h 1411"/>
                      <a:gd name="T50" fmla="*/ 139 w 1411"/>
                      <a:gd name="T51" fmla="*/ 284 h 1411"/>
                      <a:gd name="T52" fmla="*/ 206 w 1411"/>
                      <a:gd name="T53" fmla="*/ 206 h 1411"/>
                      <a:gd name="T54" fmla="*/ 206 w 1411"/>
                      <a:gd name="T55" fmla="*/ 206 h 1411"/>
                      <a:gd name="T56" fmla="*/ 284 w 1411"/>
                      <a:gd name="T57" fmla="*/ 139 h 1411"/>
                      <a:gd name="T58" fmla="*/ 375 w 1411"/>
                      <a:gd name="T59" fmla="*/ 226 h 1411"/>
                      <a:gd name="T60" fmla="*/ 407 w 1411"/>
                      <a:gd name="T61" fmla="*/ 236 h 1411"/>
                      <a:gd name="T62" fmla="*/ 507 w 1411"/>
                      <a:gd name="T63" fmla="*/ 226 h 1411"/>
                      <a:gd name="T64" fmla="*/ 507 w 1411"/>
                      <a:gd name="T65" fmla="*/ 226 h 1411"/>
                      <a:gd name="T66" fmla="*/ 612 w 1411"/>
                      <a:gd name="T67" fmla="*/ 54 h 1411"/>
                      <a:gd name="T68" fmla="*/ 610 w 1411"/>
                      <a:gd name="T69" fmla="*/ 35 h 1411"/>
                      <a:gd name="T70" fmla="*/ 602 w 1411"/>
                      <a:gd name="T71" fmla="*/ 7 h 1411"/>
                      <a:gd name="T72" fmla="*/ 705 w 1411"/>
                      <a:gd name="T73" fmla="*/ 0 h 1411"/>
                      <a:gd name="T74" fmla="*/ 705 w 1411"/>
                      <a:gd name="T75" fmla="*/ 0 h 1411"/>
                      <a:gd name="T76" fmla="*/ 808 w 1411"/>
                      <a:gd name="T77" fmla="*/ 7 h 1411"/>
                      <a:gd name="T78" fmla="*/ 810 w 1411"/>
                      <a:gd name="T79" fmla="*/ 133 h 1411"/>
                      <a:gd name="T80" fmla="*/ 903 w 1411"/>
                      <a:gd name="T81" fmla="*/ 226 h 1411"/>
                      <a:gd name="T82" fmla="*/ 1035 w 1411"/>
                      <a:gd name="T83" fmla="*/ 226 h 1411"/>
                      <a:gd name="T84" fmla="*/ 1035 w 1411"/>
                      <a:gd name="T85" fmla="*/ 226 h 1411"/>
                      <a:gd name="T86" fmla="*/ 1100 w 1411"/>
                      <a:gd name="T87" fmla="*/ 179 h 1411"/>
                      <a:gd name="T88" fmla="*/ 1126 w 1411"/>
                      <a:gd name="T89" fmla="*/ 139 h 1411"/>
                      <a:gd name="T90" fmla="*/ 1204 w 1411"/>
                      <a:gd name="T91" fmla="*/ 206 h 1411"/>
                      <a:gd name="T92" fmla="*/ 1204 w 1411"/>
                      <a:gd name="T93" fmla="*/ 206 h 1411"/>
                      <a:gd name="T94" fmla="*/ 1271 w 1411"/>
                      <a:gd name="T95" fmla="*/ 284 h 1411"/>
                      <a:gd name="T96" fmla="*/ 1184 w 1411"/>
                      <a:gd name="T97" fmla="*/ 375 h 1411"/>
                      <a:gd name="T98" fmla="*/ 1184 w 1411"/>
                      <a:gd name="T99" fmla="*/ 507 h 1411"/>
                      <a:gd name="T100" fmla="*/ 1356 w 1411"/>
                      <a:gd name="T101" fmla="*/ 612 h 1411"/>
                      <a:gd name="T102" fmla="*/ 1403 w 1411"/>
                      <a:gd name="T103" fmla="*/ 602 h 1411"/>
                      <a:gd name="T104" fmla="*/ 1410 w 1411"/>
                      <a:gd name="T105" fmla="*/ 705 h 1411"/>
                      <a:gd name="T106" fmla="*/ 1410 w 1411"/>
                      <a:gd name="T107" fmla="*/ 705 h 1411"/>
                      <a:gd name="T108" fmla="*/ 1403 w 1411"/>
                      <a:gd name="T109" fmla="*/ 808 h 1411"/>
                      <a:gd name="T110" fmla="*/ 1277 w 1411"/>
                      <a:gd name="T111" fmla="*/ 810 h 1411"/>
                      <a:gd name="T112" fmla="*/ 1184 w 1411"/>
                      <a:gd name="T113" fmla="*/ 903 h 1411"/>
                      <a:gd name="T114" fmla="*/ 1231 w 1411"/>
                      <a:gd name="T115" fmla="*/ 1100 h 1411"/>
                      <a:gd name="T116" fmla="*/ 1271 w 1411"/>
                      <a:gd name="T117" fmla="*/ 1126 h 1411"/>
                      <a:gd name="T118" fmla="*/ 1204 w 1411"/>
                      <a:gd name="T119" fmla="*/ 1204 h 1411"/>
                      <a:gd name="T120" fmla="*/ 1204 w 1411"/>
                      <a:gd name="T121" fmla="*/ 1204 h 1411"/>
                      <a:gd name="T122" fmla="*/ 1126 w 1411"/>
                      <a:gd name="T123" fmla="*/ 1271 h 1411"/>
                      <a:gd name="T124" fmla="*/ 1035 w 1411"/>
                      <a:gd name="T125" fmla="*/ 1184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1" h="1411">
                        <a:moveTo>
                          <a:pt x="1035" y="1184"/>
                        </a:moveTo>
                        <a:cubicBezTo>
                          <a:pt x="993" y="1166"/>
                          <a:pt x="946" y="1166"/>
                          <a:pt x="903" y="1184"/>
                        </a:cubicBezTo>
                        <a:cubicBezTo>
                          <a:pt x="834" y="1213"/>
                          <a:pt x="792" y="1282"/>
                          <a:pt x="798" y="1356"/>
                        </a:cubicBezTo>
                        <a:cubicBezTo>
                          <a:pt x="799" y="1372"/>
                          <a:pt x="802" y="1388"/>
                          <a:pt x="808" y="1403"/>
                        </a:cubicBezTo>
                        <a:cubicBezTo>
                          <a:pt x="774" y="1408"/>
                          <a:pt x="740" y="1410"/>
                          <a:pt x="705" y="1410"/>
                        </a:cubicBezTo>
                        <a:cubicBezTo>
                          <a:pt x="705" y="1411"/>
                          <a:pt x="705" y="1411"/>
                          <a:pt x="705" y="1411"/>
                        </a:cubicBezTo>
                        <a:cubicBezTo>
                          <a:pt x="671" y="1410"/>
                          <a:pt x="636" y="1408"/>
                          <a:pt x="602" y="1403"/>
                        </a:cubicBezTo>
                        <a:cubicBezTo>
                          <a:pt x="617" y="1362"/>
                          <a:pt x="617" y="1318"/>
                          <a:pt x="600" y="1277"/>
                        </a:cubicBezTo>
                        <a:cubicBezTo>
                          <a:pt x="582" y="1235"/>
                          <a:pt x="549" y="1202"/>
                          <a:pt x="507" y="1184"/>
                        </a:cubicBezTo>
                        <a:cubicBezTo>
                          <a:pt x="464" y="1166"/>
                          <a:pt x="417" y="1166"/>
                          <a:pt x="375" y="1184"/>
                        </a:cubicBezTo>
                        <a:cubicBezTo>
                          <a:pt x="350" y="1194"/>
                          <a:pt x="328" y="1211"/>
                          <a:pt x="310" y="1231"/>
                        </a:cubicBezTo>
                        <a:cubicBezTo>
                          <a:pt x="300" y="1243"/>
                          <a:pt x="291" y="1257"/>
                          <a:pt x="284" y="1271"/>
                        </a:cubicBezTo>
                        <a:cubicBezTo>
                          <a:pt x="257" y="1251"/>
                          <a:pt x="231" y="1228"/>
                          <a:pt x="206" y="1204"/>
                        </a:cubicBezTo>
                        <a:cubicBezTo>
                          <a:pt x="206" y="1204"/>
                          <a:pt x="206" y="1204"/>
                          <a:pt x="206" y="1204"/>
                        </a:cubicBezTo>
                        <a:cubicBezTo>
                          <a:pt x="182" y="1179"/>
                          <a:pt x="159" y="1153"/>
                          <a:pt x="139" y="1126"/>
                        </a:cubicBezTo>
                        <a:cubicBezTo>
                          <a:pt x="178" y="1108"/>
                          <a:pt x="209" y="1076"/>
                          <a:pt x="226" y="1035"/>
                        </a:cubicBezTo>
                        <a:cubicBezTo>
                          <a:pt x="244" y="993"/>
                          <a:pt x="244" y="946"/>
                          <a:pt x="226" y="903"/>
                        </a:cubicBezTo>
                        <a:cubicBezTo>
                          <a:pt x="197" y="834"/>
                          <a:pt x="128" y="792"/>
                          <a:pt x="54" y="798"/>
                        </a:cubicBezTo>
                        <a:cubicBezTo>
                          <a:pt x="38" y="799"/>
                          <a:pt x="22" y="802"/>
                          <a:pt x="7" y="808"/>
                        </a:cubicBezTo>
                        <a:cubicBezTo>
                          <a:pt x="2" y="774"/>
                          <a:pt x="0" y="740"/>
                          <a:pt x="0" y="705"/>
                        </a:cubicBezTo>
                        <a:cubicBezTo>
                          <a:pt x="0" y="705"/>
                          <a:pt x="0" y="705"/>
                          <a:pt x="0" y="705"/>
                        </a:cubicBezTo>
                        <a:cubicBezTo>
                          <a:pt x="0" y="671"/>
                          <a:pt x="2" y="636"/>
                          <a:pt x="7" y="602"/>
                        </a:cubicBezTo>
                        <a:cubicBezTo>
                          <a:pt x="48" y="617"/>
                          <a:pt x="92" y="617"/>
                          <a:pt x="133" y="600"/>
                        </a:cubicBezTo>
                        <a:cubicBezTo>
                          <a:pt x="175" y="582"/>
                          <a:pt x="208" y="549"/>
                          <a:pt x="226" y="507"/>
                        </a:cubicBezTo>
                        <a:cubicBezTo>
                          <a:pt x="255" y="438"/>
                          <a:pt x="236" y="358"/>
                          <a:pt x="179" y="310"/>
                        </a:cubicBezTo>
                        <a:cubicBezTo>
                          <a:pt x="167" y="300"/>
                          <a:pt x="153" y="291"/>
                          <a:pt x="139" y="284"/>
                        </a:cubicBezTo>
                        <a:cubicBezTo>
                          <a:pt x="159" y="257"/>
                          <a:pt x="182" y="231"/>
                          <a:pt x="206" y="206"/>
                        </a:cubicBezTo>
                        <a:cubicBezTo>
                          <a:pt x="206" y="206"/>
                          <a:pt x="206" y="206"/>
                          <a:pt x="206" y="206"/>
                        </a:cubicBezTo>
                        <a:cubicBezTo>
                          <a:pt x="231" y="182"/>
                          <a:pt x="257" y="159"/>
                          <a:pt x="284" y="139"/>
                        </a:cubicBezTo>
                        <a:cubicBezTo>
                          <a:pt x="302" y="178"/>
                          <a:pt x="334" y="209"/>
                          <a:pt x="375" y="226"/>
                        </a:cubicBezTo>
                        <a:cubicBezTo>
                          <a:pt x="385" y="230"/>
                          <a:pt x="396" y="234"/>
                          <a:pt x="407" y="236"/>
                        </a:cubicBezTo>
                        <a:cubicBezTo>
                          <a:pt x="441" y="243"/>
                          <a:pt x="475" y="239"/>
                          <a:pt x="507" y="226"/>
                        </a:cubicBezTo>
                        <a:cubicBezTo>
                          <a:pt x="507" y="226"/>
                          <a:pt x="507" y="226"/>
                          <a:pt x="507" y="226"/>
                        </a:cubicBezTo>
                        <a:cubicBezTo>
                          <a:pt x="576" y="197"/>
                          <a:pt x="618" y="128"/>
                          <a:pt x="612" y="54"/>
                        </a:cubicBezTo>
                        <a:cubicBezTo>
                          <a:pt x="612" y="48"/>
                          <a:pt x="611" y="42"/>
                          <a:pt x="610" y="35"/>
                        </a:cubicBezTo>
                        <a:cubicBezTo>
                          <a:pt x="608" y="25"/>
                          <a:pt x="605" y="16"/>
                          <a:pt x="602" y="7"/>
                        </a:cubicBezTo>
                        <a:cubicBezTo>
                          <a:pt x="636" y="2"/>
                          <a:pt x="670" y="0"/>
                          <a:pt x="705" y="0"/>
                        </a:cubicBezTo>
                        <a:cubicBezTo>
                          <a:pt x="705" y="0"/>
                          <a:pt x="705" y="0"/>
                          <a:pt x="705" y="0"/>
                        </a:cubicBezTo>
                        <a:cubicBezTo>
                          <a:pt x="740" y="0"/>
                          <a:pt x="774" y="2"/>
                          <a:pt x="808" y="7"/>
                        </a:cubicBezTo>
                        <a:cubicBezTo>
                          <a:pt x="793" y="48"/>
                          <a:pt x="793" y="92"/>
                          <a:pt x="810" y="133"/>
                        </a:cubicBezTo>
                        <a:cubicBezTo>
                          <a:pt x="828" y="175"/>
                          <a:pt x="861" y="208"/>
                          <a:pt x="903" y="226"/>
                        </a:cubicBezTo>
                        <a:cubicBezTo>
                          <a:pt x="946" y="244"/>
                          <a:pt x="993" y="244"/>
                          <a:pt x="1035" y="226"/>
                        </a:cubicBezTo>
                        <a:cubicBezTo>
                          <a:pt x="1035" y="226"/>
                          <a:pt x="1035" y="226"/>
                          <a:pt x="1035" y="226"/>
                        </a:cubicBezTo>
                        <a:cubicBezTo>
                          <a:pt x="1060" y="216"/>
                          <a:pt x="1083" y="199"/>
                          <a:pt x="1100" y="179"/>
                        </a:cubicBezTo>
                        <a:cubicBezTo>
                          <a:pt x="1110" y="167"/>
                          <a:pt x="1119" y="153"/>
                          <a:pt x="1126" y="139"/>
                        </a:cubicBezTo>
                        <a:cubicBezTo>
                          <a:pt x="1153" y="159"/>
                          <a:pt x="1179" y="182"/>
                          <a:pt x="1204" y="206"/>
                        </a:cubicBezTo>
                        <a:cubicBezTo>
                          <a:pt x="1204" y="206"/>
                          <a:pt x="1204" y="206"/>
                          <a:pt x="1204" y="206"/>
                        </a:cubicBezTo>
                        <a:cubicBezTo>
                          <a:pt x="1228" y="231"/>
                          <a:pt x="1251" y="257"/>
                          <a:pt x="1271" y="284"/>
                        </a:cubicBezTo>
                        <a:cubicBezTo>
                          <a:pt x="1232" y="302"/>
                          <a:pt x="1201" y="334"/>
                          <a:pt x="1184" y="375"/>
                        </a:cubicBezTo>
                        <a:cubicBezTo>
                          <a:pt x="1166" y="417"/>
                          <a:pt x="1166" y="464"/>
                          <a:pt x="1184" y="507"/>
                        </a:cubicBezTo>
                        <a:cubicBezTo>
                          <a:pt x="1213" y="576"/>
                          <a:pt x="1282" y="618"/>
                          <a:pt x="1356" y="612"/>
                        </a:cubicBezTo>
                        <a:cubicBezTo>
                          <a:pt x="1372" y="611"/>
                          <a:pt x="1388" y="608"/>
                          <a:pt x="1403" y="602"/>
                        </a:cubicBezTo>
                        <a:cubicBezTo>
                          <a:pt x="1408" y="636"/>
                          <a:pt x="1411" y="670"/>
                          <a:pt x="1410" y="705"/>
                        </a:cubicBezTo>
                        <a:cubicBezTo>
                          <a:pt x="1410" y="705"/>
                          <a:pt x="1410" y="705"/>
                          <a:pt x="1410" y="705"/>
                        </a:cubicBezTo>
                        <a:cubicBezTo>
                          <a:pt x="1410" y="740"/>
                          <a:pt x="1408" y="774"/>
                          <a:pt x="1403" y="808"/>
                        </a:cubicBezTo>
                        <a:cubicBezTo>
                          <a:pt x="1362" y="793"/>
                          <a:pt x="1318" y="793"/>
                          <a:pt x="1277" y="810"/>
                        </a:cubicBezTo>
                        <a:cubicBezTo>
                          <a:pt x="1235" y="828"/>
                          <a:pt x="1202" y="861"/>
                          <a:pt x="1184" y="903"/>
                        </a:cubicBezTo>
                        <a:cubicBezTo>
                          <a:pt x="1155" y="973"/>
                          <a:pt x="1174" y="1052"/>
                          <a:pt x="1231" y="1100"/>
                        </a:cubicBezTo>
                        <a:cubicBezTo>
                          <a:pt x="1243" y="1110"/>
                          <a:pt x="1257" y="1119"/>
                          <a:pt x="1271" y="1126"/>
                        </a:cubicBezTo>
                        <a:cubicBezTo>
                          <a:pt x="1251" y="1153"/>
                          <a:pt x="1228" y="1179"/>
                          <a:pt x="1204" y="1204"/>
                        </a:cubicBezTo>
                        <a:cubicBezTo>
                          <a:pt x="1204" y="1204"/>
                          <a:pt x="1204" y="1204"/>
                          <a:pt x="1204" y="1204"/>
                        </a:cubicBezTo>
                        <a:cubicBezTo>
                          <a:pt x="1179" y="1228"/>
                          <a:pt x="1153" y="1251"/>
                          <a:pt x="1126" y="1271"/>
                        </a:cubicBezTo>
                        <a:cubicBezTo>
                          <a:pt x="1108" y="1232"/>
                          <a:pt x="1076" y="1201"/>
                          <a:pt x="1035" y="11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79">
                    <a:extLst>
                      <a:ext uri="{FF2B5EF4-FFF2-40B4-BE49-F238E27FC236}">
                        <a16:creationId xmlns:a16="http://schemas.microsoft.com/office/drawing/2014/main" id="{B16FDA17-DB5D-438A-8A45-AC10EB5BED89}"/>
                      </a:ext>
                    </a:extLst>
                  </p:cNvPr>
                  <p:cNvSpPr>
                    <a:spLocks noEditPoints="1"/>
                  </p:cNvSpPr>
                  <p:nvPr/>
                </p:nvSpPr>
                <p:spPr bwMode="auto">
                  <a:xfrm>
                    <a:off x="5171403" y="3187429"/>
                    <a:ext cx="1673565" cy="1672839"/>
                  </a:xfrm>
                  <a:custGeom>
                    <a:avLst/>
                    <a:gdLst>
                      <a:gd name="T0" fmla="*/ 1343 w 1411"/>
                      <a:gd name="T1" fmla="*/ 613 h 1411"/>
                      <a:gd name="T2" fmla="*/ 1271 w 1411"/>
                      <a:gd name="T3" fmla="*/ 284 h 1411"/>
                      <a:gd name="T4" fmla="*/ 1126 w 1411"/>
                      <a:gd name="T5" fmla="*/ 139 h 1411"/>
                      <a:gd name="T6" fmla="*/ 1035 w 1411"/>
                      <a:gd name="T7" fmla="*/ 226 h 1411"/>
                      <a:gd name="T8" fmla="*/ 810 w 1411"/>
                      <a:gd name="T9" fmla="*/ 133 h 1411"/>
                      <a:gd name="T10" fmla="*/ 705 w 1411"/>
                      <a:gd name="T11" fmla="*/ 0 h 1411"/>
                      <a:gd name="T12" fmla="*/ 612 w 1411"/>
                      <a:gd name="T13" fmla="*/ 54 h 1411"/>
                      <a:gd name="T14" fmla="*/ 441 w 1411"/>
                      <a:gd name="T15" fmla="*/ 239 h 1411"/>
                      <a:gd name="T16" fmla="*/ 284 w 1411"/>
                      <a:gd name="T17" fmla="*/ 139 h 1411"/>
                      <a:gd name="T18" fmla="*/ 139 w 1411"/>
                      <a:gd name="T19" fmla="*/ 284 h 1411"/>
                      <a:gd name="T20" fmla="*/ 133 w 1411"/>
                      <a:gd name="T21" fmla="*/ 600 h 1411"/>
                      <a:gd name="T22" fmla="*/ 0 w 1411"/>
                      <a:gd name="T23" fmla="*/ 705 h 1411"/>
                      <a:gd name="T24" fmla="*/ 54 w 1411"/>
                      <a:gd name="T25" fmla="*/ 798 h 1411"/>
                      <a:gd name="T26" fmla="*/ 226 w 1411"/>
                      <a:gd name="T27" fmla="*/ 1035 h 1411"/>
                      <a:gd name="T28" fmla="*/ 206 w 1411"/>
                      <a:gd name="T29" fmla="*/ 1204 h 1411"/>
                      <a:gd name="T30" fmla="*/ 375 w 1411"/>
                      <a:gd name="T31" fmla="*/ 1184 h 1411"/>
                      <a:gd name="T32" fmla="*/ 600 w 1411"/>
                      <a:gd name="T33" fmla="*/ 1277 h 1411"/>
                      <a:gd name="T34" fmla="*/ 705 w 1411"/>
                      <a:gd name="T35" fmla="*/ 1410 h 1411"/>
                      <a:gd name="T36" fmla="*/ 798 w 1411"/>
                      <a:gd name="T37" fmla="*/ 1356 h 1411"/>
                      <a:gd name="T38" fmla="*/ 1035 w 1411"/>
                      <a:gd name="T39" fmla="*/ 1184 h 1411"/>
                      <a:gd name="T40" fmla="*/ 1204 w 1411"/>
                      <a:gd name="T41" fmla="*/ 1204 h 1411"/>
                      <a:gd name="T42" fmla="*/ 1184 w 1411"/>
                      <a:gd name="T43" fmla="*/ 903 h 1411"/>
                      <a:gd name="T44" fmla="*/ 1403 w 1411"/>
                      <a:gd name="T45" fmla="*/ 808 h 1411"/>
                      <a:gd name="T46" fmla="*/ 1403 w 1411"/>
                      <a:gd name="T47" fmla="*/ 602 h 1411"/>
                      <a:gd name="T48" fmla="*/ 1270 w 1411"/>
                      <a:gd name="T49" fmla="*/ 794 h 1411"/>
                      <a:gd name="T50" fmla="*/ 1245 w 1411"/>
                      <a:gd name="T51" fmla="*/ 1131 h 1411"/>
                      <a:gd name="T52" fmla="*/ 1191 w 1411"/>
                      <a:gd name="T53" fmla="*/ 1192 h 1411"/>
                      <a:gd name="T54" fmla="*/ 969 w 1411"/>
                      <a:gd name="T55" fmla="*/ 1154 h 1411"/>
                      <a:gd name="T56" fmla="*/ 786 w 1411"/>
                      <a:gd name="T57" fmla="*/ 1389 h 1411"/>
                      <a:gd name="T58" fmla="*/ 624 w 1411"/>
                      <a:gd name="T59" fmla="*/ 1389 h 1411"/>
                      <a:gd name="T60" fmla="*/ 441 w 1411"/>
                      <a:gd name="T61" fmla="*/ 1154 h 1411"/>
                      <a:gd name="T62" fmla="*/ 279 w 1411"/>
                      <a:gd name="T63" fmla="*/ 1245 h 1411"/>
                      <a:gd name="T64" fmla="*/ 218 w 1411"/>
                      <a:gd name="T65" fmla="*/ 1192 h 1411"/>
                      <a:gd name="T66" fmla="*/ 242 w 1411"/>
                      <a:gd name="T67" fmla="*/ 897 h 1411"/>
                      <a:gd name="T68" fmla="*/ 22 w 1411"/>
                      <a:gd name="T69" fmla="*/ 786 h 1411"/>
                      <a:gd name="T70" fmla="*/ 22 w 1411"/>
                      <a:gd name="T71" fmla="*/ 625 h 1411"/>
                      <a:gd name="T72" fmla="*/ 242 w 1411"/>
                      <a:gd name="T73" fmla="*/ 513 h 1411"/>
                      <a:gd name="T74" fmla="*/ 218 w 1411"/>
                      <a:gd name="T75" fmla="*/ 218 h 1411"/>
                      <a:gd name="T76" fmla="*/ 368 w 1411"/>
                      <a:gd name="T77" fmla="*/ 242 h 1411"/>
                      <a:gd name="T78" fmla="*/ 510 w 1411"/>
                      <a:gd name="T79" fmla="*/ 243 h 1411"/>
                      <a:gd name="T80" fmla="*/ 629 w 1411"/>
                      <a:gd name="T81" fmla="*/ 52 h 1411"/>
                      <a:gd name="T82" fmla="*/ 702 w 1411"/>
                      <a:gd name="T83" fmla="*/ 17 h 1411"/>
                      <a:gd name="T84" fmla="*/ 786 w 1411"/>
                      <a:gd name="T85" fmla="*/ 21 h 1411"/>
                      <a:gd name="T86" fmla="*/ 969 w 1411"/>
                      <a:gd name="T87" fmla="*/ 256 h 1411"/>
                      <a:gd name="T88" fmla="*/ 1048 w 1411"/>
                      <a:gd name="T89" fmla="*/ 239 h 1411"/>
                      <a:gd name="T90" fmla="*/ 1192 w 1411"/>
                      <a:gd name="T91" fmla="*/ 218 h 1411"/>
                      <a:gd name="T92" fmla="*/ 1168 w 1411"/>
                      <a:gd name="T93" fmla="*/ 368 h 1411"/>
                      <a:gd name="T94" fmla="*/ 1358 w 1411"/>
                      <a:gd name="T95" fmla="*/ 629 h 1411"/>
                      <a:gd name="T96" fmla="*/ 1389 w 1411"/>
                      <a:gd name="T97" fmla="*/ 786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1" h="1411">
                        <a:moveTo>
                          <a:pt x="1403" y="602"/>
                        </a:moveTo>
                        <a:cubicBezTo>
                          <a:pt x="1388" y="608"/>
                          <a:pt x="1372" y="611"/>
                          <a:pt x="1356" y="612"/>
                        </a:cubicBezTo>
                        <a:cubicBezTo>
                          <a:pt x="1352" y="613"/>
                          <a:pt x="1347" y="613"/>
                          <a:pt x="1343" y="613"/>
                        </a:cubicBezTo>
                        <a:cubicBezTo>
                          <a:pt x="1274" y="613"/>
                          <a:pt x="1211" y="571"/>
                          <a:pt x="1184" y="507"/>
                        </a:cubicBezTo>
                        <a:cubicBezTo>
                          <a:pt x="1166" y="464"/>
                          <a:pt x="1166" y="417"/>
                          <a:pt x="1184" y="375"/>
                        </a:cubicBezTo>
                        <a:cubicBezTo>
                          <a:pt x="1201" y="334"/>
                          <a:pt x="1232" y="302"/>
                          <a:pt x="1271" y="284"/>
                        </a:cubicBezTo>
                        <a:cubicBezTo>
                          <a:pt x="1251" y="257"/>
                          <a:pt x="1228" y="231"/>
                          <a:pt x="1204" y="206"/>
                        </a:cubicBezTo>
                        <a:cubicBezTo>
                          <a:pt x="1204" y="206"/>
                          <a:pt x="1204" y="206"/>
                          <a:pt x="1204" y="206"/>
                        </a:cubicBezTo>
                        <a:cubicBezTo>
                          <a:pt x="1179" y="182"/>
                          <a:pt x="1153" y="159"/>
                          <a:pt x="1126" y="139"/>
                        </a:cubicBezTo>
                        <a:cubicBezTo>
                          <a:pt x="1119" y="153"/>
                          <a:pt x="1110" y="167"/>
                          <a:pt x="1100" y="179"/>
                        </a:cubicBezTo>
                        <a:cubicBezTo>
                          <a:pt x="1083" y="199"/>
                          <a:pt x="1060" y="216"/>
                          <a:pt x="1035" y="226"/>
                        </a:cubicBezTo>
                        <a:cubicBezTo>
                          <a:pt x="1035" y="226"/>
                          <a:pt x="1035" y="226"/>
                          <a:pt x="1035" y="226"/>
                        </a:cubicBezTo>
                        <a:cubicBezTo>
                          <a:pt x="1014" y="235"/>
                          <a:pt x="992" y="239"/>
                          <a:pt x="969" y="239"/>
                        </a:cubicBezTo>
                        <a:cubicBezTo>
                          <a:pt x="947" y="239"/>
                          <a:pt x="925" y="235"/>
                          <a:pt x="903" y="226"/>
                        </a:cubicBezTo>
                        <a:cubicBezTo>
                          <a:pt x="861" y="208"/>
                          <a:pt x="828" y="175"/>
                          <a:pt x="810" y="133"/>
                        </a:cubicBezTo>
                        <a:cubicBezTo>
                          <a:pt x="793" y="92"/>
                          <a:pt x="793" y="48"/>
                          <a:pt x="808" y="7"/>
                        </a:cubicBezTo>
                        <a:cubicBezTo>
                          <a:pt x="774" y="2"/>
                          <a:pt x="740" y="0"/>
                          <a:pt x="705" y="0"/>
                        </a:cubicBezTo>
                        <a:cubicBezTo>
                          <a:pt x="705" y="0"/>
                          <a:pt x="705" y="0"/>
                          <a:pt x="705" y="0"/>
                        </a:cubicBezTo>
                        <a:cubicBezTo>
                          <a:pt x="670" y="0"/>
                          <a:pt x="636" y="2"/>
                          <a:pt x="602" y="7"/>
                        </a:cubicBezTo>
                        <a:cubicBezTo>
                          <a:pt x="605" y="16"/>
                          <a:pt x="608" y="25"/>
                          <a:pt x="610" y="35"/>
                        </a:cubicBezTo>
                        <a:cubicBezTo>
                          <a:pt x="611" y="42"/>
                          <a:pt x="612" y="48"/>
                          <a:pt x="612" y="54"/>
                        </a:cubicBezTo>
                        <a:cubicBezTo>
                          <a:pt x="618" y="128"/>
                          <a:pt x="576" y="197"/>
                          <a:pt x="507" y="226"/>
                        </a:cubicBezTo>
                        <a:cubicBezTo>
                          <a:pt x="507" y="226"/>
                          <a:pt x="507" y="226"/>
                          <a:pt x="507" y="226"/>
                        </a:cubicBezTo>
                        <a:cubicBezTo>
                          <a:pt x="485" y="235"/>
                          <a:pt x="463" y="239"/>
                          <a:pt x="441" y="239"/>
                        </a:cubicBezTo>
                        <a:cubicBezTo>
                          <a:pt x="430" y="239"/>
                          <a:pt x="418" y="238"/>
                          <a:pt x="407" y="236"/>
                        </a:cubicBezTo>
                        <a:cubicBezTo>
                          <a:pt x="396" y="234"/>
                          <a:pt x="385" y="230"/>
                          <a:pt x="375" y="226"/>
                        </a:cubicBezTo>
                        <a:cubicBezTo>
                          <a:pt x="334" y="209"/>
                          <a:pt x="302" y="178"/>
                          <a:pt x="284" y="139"/>
                        </a:cubicBezTo>
                        <a:cubicBezTo>
                          <a:pt x="257" y="159"/>
                          <a:pt x="231" y="182"/>
                          <a:pt x="206" y="206"/>
                        </a:cubicBezTo>
                        <a:cubicBezTo>
                          <a:pt x="206" y="206"/>
                          <a:pt x="206" y="206"/>
                          <a:pt x="206" y="206"/>
                        </a:cubicBezTo>
                        <a:cubicBezTo>
                          <a:pt x="182" y="231"/>
                          <a:pt x="159" y="257"/>
                          <a:pt x="139" y="284"/>
                        </a:cubicBezTo>
                        <a:cubicBezTo>
                          <a:pt x="153" y="291"/>
                          <a:pt x="167" y="300"/>
                          <a:pt x="179" y="310"/>
                        </a:cubicBezTo>
                        <a:cubicBezTo>
                          <a:pt x="236" y="358"/>
                          <a:pt x="255" y="438"/>
                          <a:pt x="226" y="507"/>
                        </a:cubicBezTo>
                        <a:cubicBezTo>
                          <a:pt x="208" y="549"/>
                          <a:pt x="175" y="582"/>
                          <a:pt x="133" y="600"/>
                        </a:cubicBezTo>
                        <a:cubicBezTo>
                          <a:pt x="112" y="609"/>
                          <a:pt x="89" y="613"/>
                          <a:pt x="67" y="613"/>
                        </a:cubicBezTo>
                        <a:cubicBezTo>
                          <a:pt x="47" y="613"/>
                          <a:pt x="27" y="609"/>
                          <a:pt x="7" y="602"/>
                        </a:cubicBezTo>
                        <a:cubicBezTo>
                          <a:pt x="2" y="636"/>
                          <a:pt x="0" y="671"/>
                          <a:pt x="0" y="705"/>
                        </a:cubicBezTo>
                        <a:cubicBezTo>
                          <a:pt x="0" y="705"/>
                          <a:pt x="0" y="705"/>
                          <a:pt x="0" y="705"/>
                        </a:cubicBezTo>
                        <a:cubicBezTo>
                          <a:pt x="0" y="740"/>
                          <a:pt x="2" y="774"/>
                          <a:pt x="7" y="808"/>
                        </a:cubicBezTo>
                        <a:cubicBezTo>
                          <a:pt x="22" y="802"/>
                          <a:pt x="38" y="799"/>
                          <a:pt x="54" y="798"/>
                        </a:cubicBezTo>
                        <a:cubicBezTo>
                          <a:pt x="58" y="797"/>
                          <a:pt x="63" y="797"/>
                          <a:pt x="67" y="797"/>
                        </a:cubicBezTo>
                        <a:cubicBezTo>
                          <a:pt x="137" y="797"/>
                          <a:pt x="199" y="839"/>
                          <a:pt x="226" y="903"/>
                        </a:cubicBezTo>
                        <a:cubicBezTo>
                          <a:pt x="244" y="946"/>
                          <a:pt x="244" y="993"/>
                          <a:pt x="226" y="1035"/>
                        </a:cubicBezTo>
                        <a:cubicBezTo>
                          <a:pt x="209" y="1076"/>
                          <a:pt x="178" y="1108"/>
                          <a:pt x="139" y="1126"/>
                        </a:cubicBezTo>
                        <a:cubicBezTo>
                          <a:pt x="159" y="1153"/>
                          <a:pt x="182" y="1179"/>
                          <a:pt x="206" y="1204"/>
                        </a:cubicBezTo>
                        <a:cubicBezTo>
                          <a:pt x="206" y="1204"/>
                          <a:pt x="206" y="1204"/>
                          <a:pt x="206" y="1204"/>
                        </a:cubicBezTo>
                        <a:cubicBezTo>
                          <a:pt x="231" y="1228"/>
                          <a:pt x="257" y="1251"/>
                          <a:pt x="284" y="1271"/>
                        </a:cubicBezTo>
                        <a:cubicBezTo>
                          <a:pt x="291" y="1257"/>
                          <a:pt x="300" y="1243"/>
                          <a:pt x="310" y="1231"/>
                        </a:cubicBezTo>
                        <a:cubicBezTo>
                          <a:pt x="328" y="1211"/>
                          <a:pt x="350" y="1194"/>
                          <a:pt x="375" y="1184"/>
                        </a:cubicBezTo>
                        <a:cubicBezTo>
                          <a:pt x="396" y="1175"/>
                          <a:pt x="418" y="1171"/>
                          <a:pt x="441" y="1171"/>
                        </a:cubicBezTo>
                        <a:cubicBezTo>
                          <a:pt x="463" y="1171"/>
                          <a:pt x="485" y="1175"/>
                          <a:pt x="507" y="1184"/>
                        </a:cubicBezTo>
                        <a:cubicBezTo>
                          <a:pt x="549" y="1202"/>
                          <a:pt x="582" y="1235"/>
                          <a:pt x="600" y="1277"/>
                        </a:cubicBezTo>
                        <a:cubicBezTo>
                          <a:pt x="617" y="1318"/>
                          <a:pt x="617" y="1362"/>
                          <a:pt x="602" y="1403"/>
                        </a:cubicBezTo>
                        <a:cubicBezTo>
                          <a:pt x="636" y="1408"/>
                          <a:pt x="671" y="1410"/>
                          <a:pt x="705" y="1411"/>
                        </a:cubicBezTo>
                        <a:cubicBezTo>
                          <a:pt x="705" y="1410"/>
                          <a:pt x="705" y="1410"/>
                          <a:pt x="705" y="1410"/>
                        </a:cubicBezTo>
                        <a:cubicBezTo>
                          <a:pt x="706" y="1410"/>
                          <a:pt x="706" y="1410"/>
                          <a:pt x="706" y="1410"/>
                        </a:cubicBezTo>
                        <a:cubicBezTo>
                          <a:pt x="740" y="1410"/>
                          <a:pt x="774" y="1408"/>
                          <a:pt x="808" y="1403"/>
                        </a:cubicBezTo>
                        <a:cubicBezTo>
                          <a:pt x="802" y="1388"/>
                          <a:pt x="799" y="1372"/>
                          <a:pt x="798" y="1356"/>
                        </a:cubicBezTo>
                        <a:cubicBezTo>
                          <a:pt x="792" y="1282"/>
                          <a:pt x="834" y="1213"/>
                          <a:pt x="903" y="1184"/>
                        </a:cubicBezTo>
                        <a:cubicBezTo>
                          <a:pt x="925" y="1175"/>
                          <a:pt x="947" y="1171"/>
                          <a:pt x="969" y="1171"/>
                        </a:cubicBezTo>
                        <a:cubicBezTo>
                          <a:pt x="992" y="1171"/>
                          <a:pt x="1014" y="1175"/>
                          <a:pt x="1035" y="1184"/>
                        </a:cubicBezTo>
                        <a:cubicBezTo>
                          <a:pt x="1076" y="1201"/>
                          <a:pt x="1108" y="1232"/>
                          <a:pt x="1126" y="1271"/>
                        </a:cubicBezTo>
                        <a:cubicBezTo>
                          <a:pt x="1153" y="1251"/>
                          <a:pt x="1179" y="1228"/>
                          <a:pt x="1204" y="1204"/>
                        </a:cubicBezTo>
                        <a:cubicBezTo>
                          <a:pt x="1204" y="1204"/>
                          <a:pt x="1204" y="1204"/>
                          <a:pt x="1204" y="1204"/>
                        </a:cubicBezTo>
                        <a:cubicBezTo>
                          <a:pt x="1228" y="1179"/>
                          <a:pt x="1251" y="1153"/>
                          <a:pt x="1271" y="1126"/>
                        </a:cubicBezTo>
                        <a:cubicBezTo>
                          <a:pt x="1257" y="1119"/>
                          <a:pt x="1243" y="1110"/>
                          <a:pt x="1231" y="1100"/>
                        </a:cubicBezTo>
                        <a:cubicBezTo>
                          <a:pt x="1174" y="1052"/>
                          <a:pt x="1155" y="973"/>
                          <a:pt x="1184" y="903"/>
                        </a:cubicBezTo>
                        <a:cubicBezTo>
                          <a:pt x="1202" y="861"/>
                          <a:pt x="1235" y="828"/>
                          <a:pt x="1277" y="810"/>
                        </a:cubicBezTo>
                        <a:cubicBezTo>
                          <a:pt x="1298" y="801"/>
                          <a:pt x="1321" y="797"/>
                          <a:pt x="1343" y="797"/>
                        </a:cubicBezTo>
                        <a:cubicBezTo>
                          <a:pt x="1363" y="797"/>
                          <a:pt x="1383" y="801"/>
                          <a:pt x="1403" y="808"/>
                        </a:cubicBezTo>
                        <a:cubicBezTo>
                          <a:pt x="1408" y="774"/>
                          <a:pt x="1410" y="740"/>
                          <a:pt x="1410" y="705"/>
                        </a:cubicBezTo>
                        <a:cubicBezTo>
                          <a:pt x="1410" y="705"/>
                          <a:pt x="1410" y="705"/>
                          <a:pt x="1410" y="705"/>
                        </a:cubicBezTo>
                        <a:cubicBezTo>
                          <a:pt x="1411" y="670"/>
                          <a:pt x="1408" y="636"/>
                          <a:pt x="1403" y="602"/>
                        </a:cubicBezTo>
                        <a:moveTo>
                          <a:pt x="1389" y="786"/>
                        </a:moveTo>
                        <a:cubicBezTo>
                          <a:pt x="1374" y="782"/>
                          <a:pt x="1358" y="780"/>
                          <a:pt x="1343" y="780"/>
                        </a:cubicBezTo>
                        <a:cubicBezTo>
                          <a:pt x="1318" y="780"/>
                          <a:pt x="1294" y="785"/>
                          <a:pt x="1270" y="794"/>
                        </a:cubicBezTo>
                        <a:cubicBezTo>
                          <a:pt x="1224" y="814"/>
                          <a:pt x="1187" y="850"/>
                          <a:pt x="1168" y="897"/>
                        </a:cubicBezTo>
                        <a:cubicBezTo>
                          <a:pt x="1137" y="973"/>
                          <a:pt x="1157" y="1060"/>
                          <a:pt x="1220" y="1113"/>
                        </a:cubicBezTo>
                        <a:cubicBezTo>
                          <a:pt x="1228" y="1120"/>
                          <a:pt x="1236" y="1126"/>
                          <a:pt x="1245" y="1131"/>
                        </a:cubicBezTo>
                        <a:cubicBezTo>
                          <a:pt x="1229" y="1152"/>
                          <a:pt x="1211" y="1172"/>
                          <a:pt x="1192" y="1191"/>
                        </a:cubicBezTo>
                        <a:cubicBezTo>
                          <a:pt x="1192" y="1191"/>
                          <a:pt x="1192" y="1191"/>
                          <a:pt x="1192" y="1191"/>
                        </a:cubicBezTo>
                        <a:cubicBezTo>
                          <a:pt x="1191" y="1192"/>
                          <a:pt x="1191" y="1192"/>
                          <a:pt x="1191" y="1192"/>
                        </a:cubicBezTo>
                        <a:cubicBezTo>
                          <a:pt x="1173" y="1211"/>
                          <a:pt x="1152" y="1229"/>
                          <a:pt x="1131" y="1245"/>
                        </a:cubicBezTo>
                        <a:cubicBezTo>
                          <a:pt x="1111" y="1211"/>
                          <a:pt x="1079" y="1184"/>
                          <a:pt x="1042" y="1168"/>
                        </a:cubicBezTo>
                        <a:cubicBezTo>
                          <a:pt x="1018" y="1158"/>
                          <a:pt x="994" y="1154"/>
                          <a:pt x="969" y="1154"/>
                        </a:cubicBezTo>
                        <a:cubicBezTo>
                          <a:pt x="944" y="1154"/>
                          <a:pt x="920" y="1158"/>
                          <a:pt x="897" y="1168"/>
                        </a:cubicBezTo>
                        <a:cubicBezTo>
                          <a:pt x="821" y="1200"/>
                          <a:pt x="774" y="1276"/>
                          <a:pt x="781" y="1358"/>
                        </a:cubicBezTo>
                        <a:cubicBezTo>
                          <a:pt x="781" y="1368"/>
                          <a:pt x="783" y="1378"/>
                          <a:pt x="786" y="1389"/>
                        </a:cubicBezTo>
                        <a:cubicBezTo>
                          <a:pt x="759" y="1392"/>
                          <a:pt x="732" y="1393"/>
                          <a:pt x="705" y="1393"/>
                        </a:cubicBezTo>
                        <a:cubicBezTo>
                          <a:pt x="703" y="1393"/>
                          <a:pt x="703" y="1393"/>
                          <a:pt x="703" y="1393"/>
                        </a:cubicBezTo>
                        <a:cubicBezTo>
                          <a:pt x="676" y="1393"/>
                          <a:pt x="650" y="1392"/>
                          <a:pt x="624" y="1389"/>
                        </a:cubicBezTo>
                        <a:cubicBezTo>
                          <a:pt x="634" y="1350"/>
                          <a:pt x="631" y="1308"/>
                          <a:pt x="616" y="1270"/>
                        </a:cubicBezTo>
                        <a:cubicBezTo>
                          <a:pt x="596" y="1224"/>
                          <a:pt x="560" y="1187"/>
                          <a:pt x="513" y="1168"/>
                        </a:cubicBezTo>
                        <a:cubicBezTo>
                          <a:pt x="490" y="1158"/>
                          <a:pt x="466" y="1154"/>
                          <a:pt x="441" y="1154"/>
                        </a:cubicBezTo>
                        <a:cubicBezTo>
                          <a:pt x="416" y="1154"/>
                          <a:pt x="392" y="1158"/>
                          <a:pt x="368" y="1168"/>
                        </a:cubicBezTo>
                        <a:cubicBezTo>
                          <a:pt x="341" y="1179"/>
                          <a:pt x="316" y="1197"/>
                          <a:pt x="297" y="1220"/>
                        </a:cubicBezTo>
                        <a:cubicBezTo>
                          <a:pt x="290" y="1228"/>
                          <a:pt x="284" y="1236"/>
                          <a:pt x="279" y="1245"/>
                        </a:cubicBezTo>
                        <a:cubicBezTo>
                          <a:pt x="258" y="1229"/>
                          <a:pt x="238" y="1211"/>
                          <a:pt x="219" y="1192"/>
                        </a:cubicBezTo>
                        <a:cubicBezTo>
                          <a:pt x="219" y="1192"/>
                          <a:pt x="219" y="1192"/>
                          <a:pt x="219" y="1192"/>
                        </a:cubicBezTo>
                        <a:cubicBezTo>
                          <a:pt x="218" y="1192"/>
                          <a:pt x="218" y="1192"/>
                          <a:pt x="218" y="1192"/>
                        </a:cubicBezTo>
                        <a:cubicBezTo>
                          <a:pt x="199" y="1173"/>
                          <a:pt x="181" y="1152"/>
                          <a:pt x="165" y="1131"/>
                        </a:cubicBezTo>
                        <a:cubicBezTo>
                          <a:pt x="199" y="1111"/>
                          <a:pt x="226" y="1079"/>
                          <a:pt x="242" y="1042"/>
                        </a:cubicBezTo>
                        <a:cubicBezTo>
                          <a:pt x="261" y="995"/>
                          <a:pt x="261" y="944"/>
                          <a:pt x="242" y="897"/>
                        </a:cubicBezTo>
                        <a:cubicBezTo>
                          <a:pt x="213" y="826"/>
                          <a:pt x="144" y="780"/>
                          <a:pt x="67" y="780"/>
                        </a:cubicBezTo>
                        <a:cubicBezTo>
                          <a:pt x="62" y="780"/>
                          <a:pt x="57" y="780"/>
                          <a:pt x="52" y="781"/>
                        </a:cubicBezTo>
                        <a:cubicBezTo>
                          <a:pt x="42" y="781"/>
                          <a:pt x="32" y="783"/>
                          <a:pt x="22" y="786"/>
                        </a:cubicBezTo>
                        <a:cubicBezTo>
                          <a:pt x="18" y="759"/>
                          <a:pt x="17" y="732"/>
                          <a:pt x="17" y="705"/>
                        </a:cubicBezTo>
                        <a:cubicBezTo>
                          <a:pt x="17" y="704"/>
                          <a:pt x="17" y="704"/>
                          <a:pt x="17" y="704"/>
                        </a:cubicBezTo>
                        <a:cubicBezTo>
                          <a:pt x="17" y="677"/>
                          <a:pt x="18" y="651"/>
                          <a:pt x="22" y="625"/>
                        </a:cubicBezTo>
                        <a:cubicBezTo>
                          <a:pt x="36" y="628"/>
                          <a:pt x="52" y="630"/>
                          <a:pt x="67" y="630"/>
                        </a:cubicBezTo>
                        <a:cubicBezTo>
                          <a:pt x="92" y="630"/>
                          <a:pt x="116" y="625"/>
                          <a:pt x="140" y="616"/>
                        </a:cubicBezTo>
                        <a:cubicBezTo>
                          <a:pt x="186" y="596"/>
                          <a:pt x="223" y="560"/>
                          <a:pt x="242" y="513"/>
                        </a:cubicBezTo>
                        <a:cubicBezTo>
                          <a:pt x="273" y="437"/>
                          <a:pt x="253" y="350"/>
                          <a:pt x="190" y="297"/>
                        </a:cubicBezTo>
                        <a:cubicBezTo>
                          <a:pt x="182" y="290"/>
                          <a:pt x="174" y="284"/>
                          <a:pt x="165" y="279"/>
                        </a:cubicBezTo>
                        <a:cubicBezTo>
                          <a:pt x="181" y="257"/>
                          <a:pt x="199" y="237"/>
                          <a:pt x="218" y="218"/>
                        </a:cubicBezTo>
                        <a:cubicBezTo>
                          <a:pt x="219" y="218"/>
                          <a:pt x="219" y="218"/>
                          <a:pt x="219" y="218"/>
                        </a:cubicBezTo>
                        <a:cubicBezTo>
                          <a:pt x="238" y="199"/>
                          <a:pt x="258" y="181"/>
                          <a:pt x="279" y="165"/>
                        </a:cubicBezTo>
                        <a:cubicBezTo>
                          <a:pt x="299" y="199"/>
                          <a:pt x="331" y="226"/>
                          <a:pt x="368" y="242"/>
                        </a:cubicBezTo>
                        <a:cubicBezTo>
                          <a:pt x="380" y="247"/>
                          <a:pt x="392" y="250"/>
                          <a:pt x="404" y="253"/>
                        </a:cubicBezTo>
                        <a:cubicBezTo>
                          <a:pt x="416" y="255"/>
                          <a:pt x="428" y="256"/>
                          <a:pt x="441" y="256"/>
                        </a:cubicBezTo>
                        <a:cubicBezTo>
                          <a:pt x="464" y="256"/>
                          <a:pt x="488" y="252"/>
                          <a:pt x="510" y="243"/>
                        </a:cubicBezTo>
                        <a:cubicBezTo>
                          <a:pt x="510" y="243"/>
                          <a:pt x="510" y="243"/>
                          <a:pt x="510" y="243"/>
                        </a:cubicBezTo>
                        <a:cubicBezTo>
                          <a:pt x="513" y="242"/>
                          <a:pt x="513" y="242"/>
                          <a:pt x="513" y="242"/>
                        </a:cubicBezTo>
                        <a:cubicBezTo>
                          <a:pt x="589" y="210"/>
                          <a:pt x="636" y="134"/>
                          <a:pt x="629" y="52"/>
                        </a:cubicBezTo>
                        <a:cubicBezTo>
                          <a:pt x="629" y="45"/>
                          <a:pt x="628" y="39"/>
                          <a:pt x="626" y="32"/>
                        </a:cubicBezTo>
                        <a:cubicBezTo>
                          <a:pt x="626" y="28"/>
                          <a:pt x="625" y="25"/>
                          <a:pt x="624" y="21"/>
                        </a:cubicBezTo>
                        <a:cubicBezTo>
                          <a:pt x="650" y="18"/>
                          <a:pt x="676" y="17"/>
                          <a:pt x="702" y="17"/>
                        </a:cubicBezTo>
                        <a:cubicBezTo>
                          <a:pt x="702" y="17"/>
                          <a:pt x="702" y="17"/>
                          <a:pt x="702" y="17"/>
                        </a:cubicBezTo>
                        <a:cubicBezTo>
                          <a:pt x="705" y="17"/>
                          <a:pt x="705" y="17"/>
                          <a:pt x="705" y="17"/>
                        </a:cubicBezTo>
                        <a:cubicBezTo>
                          <a:pt x="732" y="17"/>
                          <a:pt x="759" y="18"/>
                          <a:pt x="786" y="21"/>
                        </a:cubicBezTo>
                        <a:cubicBezTo>
                          <a:pt x="776" y="61"/>
                          <a:pt x="779" y="102"/>
                          <a:pt x="794" y="140"/>
                        </a:cubicBezTo>
                        <a:cubicBezTo>
                          <a:pt x="814" y="186"/>
                          <a:pt x="850" y="223"/>
                          <a:pt x="897" y="242"/>
                        </a:cubicBezTo>
                        <a:cubicBezTo>
                          <a:pt x="920" y="252"/>
                          <a:pt x="944" y="256"/>
                          <a:pt x="969" y="256"/>
                        </a:cubicBezTo>
                        <a:cubicBezTo>
                          <a:pt x="994" y="256"/>
                          <a:pt x="1018" y="252"/>
                          <a:pt x="1042" y="242"/>
                        </a:cubicBezTo>
                        <a:cubicBezTo>
                          <a:pt x="1048" y="240"/>
                          <a:pt x="1048" y="240"/>
                          <a:pt x="1048" y="240"/>
                        </a:cubicBezTo>
                        <a:cubicBezTo>
                          <a:pt x="1048" y="239"/>
                          <a:pt x="1048" y="239"/>
                          <a:pt x="1048" y="239"/>
                        </a:cubicBezTo>
                        <a:cubicBezTo>
                          <a:pt x="1073" y="228"/>
                          <a:pt x="1095" y="211"/>
                          <a:pt x="1113" y="190"/>
                        </a:cubicBezTo>
                        <a:cubicBezTo>
                          <a:pt x="1120" y="182"/>
                          <a:pt x="1126" y="174"/>
                          <a:pt x="1131" y="165"/>
                        </a:cubicBezTo>
                        <a:cubicBezTo>
                          <a:pt x="1153" y="181"/>
                          <a:pt x="1173" y="199"/>
                          <a:pt x="1192" y="218"/>
                        </a:cubicBezTo>
                        <a:cubicBezTo>
                          <a:pt x="1194" y="221"/>
                          <a:pt x="1194" y="221"/>
                          <a:pt x="1194" y="221"/>
                        </a:cubicBezTo>
                        <a:cubicBezTo>
                          <a:pt x="1212" y="239"/>
                          <a:pt x="1229" y="259"/>
                          <a:pt x="1245" y="279"/>
                        </a:cubicBezTo>
                        <a:cubicBezTo>
                          <a:pt x="1211" y="299"/>
                          <a:pt x="1184" y="331"/>
                          <a:pt x="1168" y="368"/>
                        </a:cubicBezTo>
                        <a:cubicBezTo>
                          <a:pt x="1149" y="415"/>
                          <a:pt x="1149" y="466"/>
                          <a:pt x="1168" y="513"/>
                        </a:cubicBezTo>
                        <a:cubicBezTo>
                          <a:pt x="1197" y="584"/>
                          <a:pt x="1266" y="630"/>
                          <a:pt x="1343" y="630"/>
                        </a:cubicBezTo>
                        <a:cubicBezTo>
                          <a:pt x="1348" y="630"/>
                          <a:pt x="1353" y="630"/>
                          <a:pt x="1358" y="629"/>
                        </a:cubicBezTo>
                        <a:cubicBezTo>
                          <a:pt x="1368" y="629"/>
                          <a:pt x="1378" y="627"/>
                          <a:pt x="1389" y="624"/>
                        </a:cubicBezTo>
                        <a:cubicBezTo>
                          <a:pt x="1392" y="651"/>
                          <a:pt x="1393" y="678"/>
                          <a:pt x="1393" y="705"/>
                        </a:cubicBezTo>
                        <a:cubicBezTo>
                          <a:pt x="1393" y="732"/>
                          <a:pt x="1392" y="759"/>
                          <a:pt x="1389" y="7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TextBox 87">
                  <a:extLst>
                    <a:ext uri="{FF2B5EF4-FFF2-40B4-BE49-F238E27FC236}">
                      <a16:creationId xmlns:a16="http://schemas.microsoft.com/office/drawing/2014/main" id="{BCF9B519-E92B-4AED-B203-D965E6F29C6B}"/>
                    </a:ext>
                  </a:extLst>
                </p:cNvPr>
                <p:cNvSpPr txBox="1"/>
                <p:nvPr/>
              </p:nvSpPr>
              <p:spPr>
                <a:xfrm>
                  <a:off x="5490588" y="3709128"/>
                  <a:ext cx="1212191" cy="369332"/>
                </a:xfrm>
                <a:prstGeom prst="rect">
                  <a:avLst/>
                </a:prstGeom>
                <a:grpFill/>
              </p:spPr>
              <p:txBody>
                <a:bodyPr wrap="none" rtlCol="0" anchor="ctr">
                  <a:spAutoFit/>
                </a:bodyPr>
                <a:lstStyle/>
                <a:p>
                  <a:pPr algn="ctr"/>
                  <a:r>
                    <a:rPr lang="en-US" b="1" dirty="0">
                      <a:solidFill>
                        <a:schemeClr val="bg1"/>
                      </a:solidFill>
                      <a:latin typeface="Montserrat" panose="00000500000000000000" pitchFamily="50" charset="0"/>
                    </a:rPr>
                    <a:t>SERVICE</a:t>
                  </a:r>
                  <a:endParaRPr lang="en-US" sz="2000" b="1" dirty="0">
                    <a:solidFill>
                      <a:schemeClr val="bg1"/>
                    </a:solidFill>
                    <a:latin typeface="Montserrat" panose="00000500000000000000" pitchFamily="50" charset="0"/>
                  </a:endParaRPr>
                </a:p>
              </p:txBody>
            </p:sp>
          </p:grpSp>
        </p:grpSp>
        <p:grpSp>
          <p:nvGrpSpPr>
            <p:cNvPr id="61" name="Group 60">
              <a:extLst>
                <a:ext uri="{FF2B5EF4-FFF2-40B4-BE49-F238E27FC236}">
                  <a16:creationId xmlns:a16="http://schemas.microsoft.com/office/drawing/2014/main" id="{41A80201-A059-470C-A16E-D1A6EB30B6B4}"/>
                </a:ext>
              </a:extLst>
            </p:cNvPr>
            <p:cNvGrpSpPr/>
            <p:nvPr/>
          </p:nvGrpSpPr>
          <p:grpSpPr>
            <a:xfrm>
              <a:off x="7026094" y="3252788"/>
              <a:ext cx="570354" cy="570352"/>
              <a:chOff x="7121438" y="3236950"/>
              <a:chExt cx="602030" cy="602028"/>
            </a:xfrm>
          </p:grpSpPr>
          <p:sp>
            <p:nvSpPr>
              <p:cNvPr id="83" name="Oval 82">
                <a:extLst>
                  <a:ext uri="{FF2B5EF4-FFF2-40B4-BE49-F238E27FC236}">
                    <a16:creationId xmlns:a16="http://schemas.microsoft.com/office/drawing/2014/main" id="{A4DC0B40-279A-4907-8172-20C3F4D06A69}"/>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84" name="TextBox 83">
                <a:extLst>
                  <a:ext uri="{FF2B5EF4-FFF2-40B4-BE49-F238E27FC236}">
                    <a16:creationId xmlns:a16="http://schemas.microsoft.com/office/drawing/2014/main" id="{A9C168D5-97F6-4A60-9AE4-CD974A5E22D2}"/>
                  </a:ext>
                </a:extLst>
              </p:cNvPr>
              <p:cNvSpPr txBox="1"/>
              <p:nvPr/>
            </p:nvSpPr>
            <p:spPr>
              <a:xfrm>
                <a:off x="7166787" y="3343042"/>
                <a:ext cx="511332"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2</a:t>
                </a:r>
                <a:endParaRPr lang="id-ID" b="1" dirty="0">
                  <a:solidFill>
                    <a:schemeClr val="tx1">
                      <a:lumMod val="65000"/>
                      <a:lumOff val="35000"/>
                    </a:schemeClr>
                  </a:solidFill>
                  <a:latin typeface="Montserrat" panose="00000500000000000000" pitchFamily="50" charset="0"/>
                </a:endParaRPr>
              </a:p>
            </p:txBody>
          </p:sp>
        </p:grpSp>
        <p:grpSp>
          <p:nvGrpSpPr>
            <p:cNvPr id="62" name="Group 61">
              <a:extLst>
                <a:ext uri="{FF2B5EF4-FFF2-40B4-BE49-F238E27FC236}">
                  <a16:creationId xmlns:a16="http://schemas.microsoft.com/office/drawing/2014/main" id="{9D386DD6-3F29-4AB4-80F6-78389ADB093B}"/>
                </a:ext>
              </a:extLst>
            </p:cNvPr>
            <p:cNvGrpSpPr/>
            <p:nvPr/>
          </p:nvGrpSpPr>
          <p:grpSpPr>
            <a:xfrm>
              <a:off x="4598853" y="3252788"/>
              <a:ext cx="570354" cy="570352"/>
              <a:chOff x="7121438" y="3236950"/>
              <a:chExt cx="602030" cy="602028"/>
            </a:xfrm>
          </p:grpSpPr>
          <p:sp>
            <p:nvSpPr>
              <p:cNvPr id="81" name="Oval 80">
                <a:extLst>
                  <a:ext uri="{FF2B5EF4-FFF2-40B4-BE49-F238E27FC236}">
                    <a16:creationId xmlns:a16="http://schemas.microsoft.com/office/drawing/2014/main" id="{349D6E2F-1779-4D68-B6A6-0843513CC4D4}"/>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82" name="TextBox 81">
                <a:extLst>
                  <a:ext uri="{FF2B5EF4-FFF2-40B4-BE49-F238E27FC236}">
                    <a16:creationId xmlns:a16="http://schemas.microsoft.com/office/drawing/2014/main" id="{D0A99855-4169-4681-867C-6D165BDFD2AD}"/>
                  </a:ext>
                </a:extLst>
              </p:cNvPr>
              <p:cNvSpPr txBox="1"/>
              <p:nvPr/>
            </p:nvSpPr>
            <p:spPr>
              <a:xfrm>
                <a:off x="7166787" y="3343042"/>
                <a:ext cx="511332"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7</a:t>
                </a:r>
                <a:endParaRPr lang="id-ID" b="1" dirty="0">
                  <a:solidFill>
                    <a:schemeClr val="tx1">
                      <a:lumMod val="65000"/>
                      <a:lumOff val="35000"/>
                    </a:schemeClr>
                  </a:solidFill>
                  <a:latin typeface="Montserrat" panose="00000500000000000000" pitchFamily="50" charset="0"/>
                </a:endParaRPr>
              </a:p>
            </p:txBody>
          </p:sp>
        </p:grpSp>
        <p:grpSp>
          <p:nvGrpSpPr>
            <p:cNvPr id="63" name="Group 62">
              <a:extLst>
                <a:ext uri="{FF2B5EF4-FFF2-40B4-BE49-F238E27FC236}">
                  <a16:creationId xmlns:a16="http://schemas.microsoft.com/office/drawing/2014/main" id="{CB5E2EAF-989A-401E-818A-91002CCB8074}"/>
                </a:ext>
              </a:extLst>
            </p:cNvPr>
            <p:cNvGrpSpPr/>
            <p:nvPr/>
          </p:nvGrpSpPr>
          <p:grpSpPr>
            <a:xfrm>
              <a:off x="7026094" y="4282992"/>
              <a:ext cx="570354" cy="570352"/>
              <a:chOff x="7121438" y="3236950"/>
              <a:chExt cx="602030" cy="602028"/>
            </a:xfrm>
          </p:grpSpPr>
          <p:sp>
            <p:nvSpPr>
              <p:cNvPr id="79" name="Oval 78">
                <a:extLst>
                  <a:ext uri="{FF2B5EF4-FFF2-40B4-BE49-F238E27FC236}">
                    <a16:creationId xmlns:a16="http://schemas.microsoft.com/office/drawing/2014/main" id="{1730E022-74D4-4016-AEC2-C84102E00DD3}"/>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80" name="TextBox 79">
                <a:extLst>
                  <a:ext uri="{FF2B5EF4-FFF2-40B4-BE49-F238E27FC236}">
                    <a16:creationId xmlns:a16="http://schemas.microsoft.com/office/drawing/2014/main" id="{2836A426-2AE9-44BD-96E1-79199444D44B}"/>
                  </a:ext>
                </a:extLst>
              </p:cNvPr>
              <p:cNvSpPr txBox="1"/>
              <p:nvPr/>
            </p:nvSpPr>
            <p:spPr>
              <a:xfrm>
                <a:off x="7171863" y="3343042"/>
                <a:ext cx="501180"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3</a:t>
                </a:r>
                <a:endParaRPr lang="id-ID" b="1" dirty="0">
                  <a:solidFill>
                    <a:schemeClr val="tx1">
                      <a:lumMod val="65000"/>
                      <a:lumOff val="35000"/>
                    </a:schemeClr>
                  </a:solidFill>
                  <a:latin typeface="Montserrat" panose="00000500000000000000" pitchFamily="50" charset="0"/>
                </a:endParaRPr>
              </a:p>
            </p:txBody>
          </p:sp>
        </p:grpSp>
        <p:grpSp>
          <p:nvGrpSpPr>
            <p:cNvPr id="64" name="Group 63">
              <a:extLst>
                <a:ext uri="{FF2B5EF4-FFF2-40B4-BE49-F238E27FC236}">
                  <a16:creationId xmlns:a16="http://schemas.microsoft.com/office/drawing/2014/main" id="{FAB330AD-121B-4A25-AD61-EED61A794EA7}"/>
                </a:ext>
              </a:extLst>
            </p:cNvPr>
            <p:cNvGrpSpPr/>
            <p:nvPr/>
          </p:nvGrpSpPr>
          <p:grpSpPr>
            <a:xfrm>
              <a:off x="4598853" y="4282992"/>
              <a:ext cx="570354" cy="570352"/>
              <a:chOff x="7121438" y="3236950"/>
              <a:chExt cx="602030" cy="602028"/>
            </a:xfrm>
          </p:grpSpPr>
          <p:sp>
            <p:nvSpPr>
              <p:cNvPr id="77" name="Oval 76">
                <a:extLst>
                  <a:ext uri="{FF2B5EF4-FFF2-40B4-BE49-F238E27FC236}">
                    <a16:creationId xmlns:a16="http://schemas.microsoft.com/office/drawing/2014/main" id="{C178D8B5-6046-423D-8D2B-9AB549315476}"/>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78" name="TextBox 77">
                <a:extLst>
                  <a:ext uri="{FF2B5EF4-FFF2-40B4-BE49-F238E27FC236}">
                    <a16:creationId xmlns:a16="http://schemas.microsoft.com/office/drawing/2014/main" id="{6B594695-9200-42C2-A92B-1A6BBB3D9C59}"/>
                  </a:ext>
                </a:extLst>
              </p:cNvPr>
              <p:cNvSpPr txBox="1"/>
              <p:nvPr/>
            </p:nvSpPr>
            <p:spPr>
              <a:xfrm>
                <a:off x="7162558" y="3343042"/>
                <a:ext cx="519792"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6</a:t>
                </a:r>
                <a:endParaRPr lang="id-ID" b="1" dirty="0">
                  <a:solidFill>
                    <a:schemeClr val="tx1">
                      <a:lumMod val="65000"/>
                      <a:lumOff val="35000"/>
                    </a:schemeClr>
                  </a:solidFill>
                  <a:latin typeface="Montserrat" panose="00000500000000000000" pitchFamily="50" charset="0"/>
                </a:endParaRPr>
              </a:p>
            </p:txBody>
          </p:sp>
        </p:grpSp>
        <p:grpSp>
          <p:nvGrpSpPr>
            <p:cNvPr id="65" name="Group 64">
              <a:extLst>
                <a:ext uri="{FF2B5EF4-FFF2-40B4-BE49-F238E27FC236}">
                  <a16:creationId xmlns:a16="http://schemas.microsoft.com/office/drawing/2014/main" id="{F27F2514-54E0-422D-8641-653023B1AD34}"/>
                </a:ext>
              </a:extLst>
            </p:cNvPr>
            <p:cNvGrpSpPr/>
            <p:nvPr/>
          </p:nvGrpSpPr>
          <p:grpSpPr>
            <a:xfrm>
              <a:off x="6327576" y="4981511"/>
              <a:ext cx="570354" cy="570352"/>
              <a:chOff x="7121438" y="3236950"/>
              <a:chExt cx="602030" cy="602028"/>
            </a:xfrm>
          </p:grpSpPr>
          <p:sp>
            <p:nvSpPr>
              <p:cNvPr id="75" name="Oval 74">
                <a:extLst>
                  <a:ext uri="{FF2B5EF4-FFF2-40B4-BE49-F238E27FC236}">
                    <a16:creationId xmlns:a16="http://schemas.microsoft.com/office/drawing/2014/main" id="{A06F06BA-4833-4306-9FA1-B4EF5D83E04E}"/>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76" name="TextBox 75">
                <a:extLst>
                  <a:ext uri="{FF2B5EF4-FFF2-40B4-BE49-F238E27FC236}">
                    <a16:creationId xmlns:a16="http://schemas.microsoft.com/office/drawing/2014/main" id="{E162F657-7A65-4CEA-ACB2-BC2DA479C06D}"/>
                  </a:ext>
                </a:extLst>
              </p:cNvPr>
              <p:cNvSpPr txBox="1"/>
              <p:nvPr/>
            </p:nvSpPr>
            <p:spPr>
              <a:xfrm>
                <a:off x="7176231" y="3353298"/>
                <a:ext cx="492444" cy="369332"/>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4</a:t>
                </a:r>
                <a:endParaRPr lang="id-ID" b="1" dirty="0">
                  <a:solidFill>
                    <a:schemeClr val="tx1">
                      <a:lumMod val="65000"/>
                      <a:lumOff val="35000"/>
                    </a:schemeClr>
                  </a:solidFill>
                  <a:latin typeface="Montserrat" panose="00000500000000000000" pitchFamily="50" charset="0"/>
                </a:endParaRPr>
              </a:p>
            </p:txBody>
          </p:sp>
        </p:grpSp>
        <p:grpSp>
          <p:nvGrpSpPr>
            <p:cNvPr id="66" name="Group 65">
              <a:extLst>
                <a:ext uri="{FF2B5EF4-FFF2-40B4-BE49-F238E27FC236}">
                  <a16:creationId xmlns:a16="http://schemas.microsoft.com/office/drawing/2014/main" id="{169554D5-330D-4CA1-B941-3BC8C800D496}"/>
                </a:ext>
              </a:extLst>
            </p:cNvPr>
            <p:cNvGrpSpPr/>
            <p:nvPr/>
          </p:nvGrpSpPr>
          <p:grpSpPr>
            <a:xfrm>
              <a:off x="6327576" y="2554270"/>
              <a:ext cx="570354" cy="570352"/>
              <a:chOff x="7121438" y="3236950"/>
              <a:chExt cx="602030" cy="602028"/>
            </a:xfrm>
          </p:grpSpPr>
          <p:sp>
            <p:nvSpPr>
              <p:cNvPr id="73" name="Oval 72">
                <a:extLst>
                  <a:ext uri="{FF2B5EF4-FFF2-40B4-BE49-F238E27FC236}">
                    <a16:creationId xmlns:a16="http://schemas.microsoft.com/office/drawing/2014/main" id="{DE5B6533-8D71-40AA-A7AB-2C3C9E74FCFB}"/>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74" name="TextBox 73">
                <a:extLst>
                  <a:ext uri="{FF2B5EF4-FFF2-40B4-BE49-F238E27FC236}">
                    <a16:creationId xmlns:a16="http://schemas.microsoft.com/office/drawing/2014/main" id="{BCBB59C2-ABC6-4976-8B4E-35D193C3F9B0}"/>
                  </a:ext>
                </a:extLst>
              </p:cNvPr>
              <p:cNvSpPr txBox="1"/>
              <p:nvPr/>
            </p:nvSpPr>
            <p:spPr>
              <a:xfrm>
                <a:off x="7189630" y="3343042"/>
                <a:ext cx="465646"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1</a:t>
                </a:r>
                <a:endParaRPr lang="id-ID" b="1" dirty="0">
                  <a:solidFill>
                    <a:schemeClr val="tx1">
                      <a:lumMod val="65000"/>
                      <a:lumOff val="35000"/>
                    </a:schemeClr>
                  </a:solidFill>
                  <a:latin typeface="Montserrat" panose="00000500000000000000" pitchFamily="50" charset="0"/>
                </a:endParaRPr>
              </a:p>
            </p:txBody>
          </p:sp>
        </p:grpSp>
        <p:grpSp>
          <p:nvGrpSpPr>
            <p:cNvPr id="67" name="Group 66">
              <a:extLst>
                <a:ext uri="{FF2B5EF4-FFF2-40B4-BE49-F238E27FC236}">
                  <a16:creationId xmlns:a16="http://schemas.microsoft.com/office/drawing/2014/main" id="{1D469473-B384-4D38-9F4F-F9970E168B89}"/>
                </a:ext>
              </a:extLst>
            </p:cNvPr>
            <p:cNvGrpSpPr/>
            <p:nvPr/>
          </p:nvGrpSpPr>
          <p:grpSpPr>
            <a:xfrm>
              <a:off x="5297372" y="4981511"/>
              <a:ext cx="570354" cy="570352"/>
              <a:chOff x="7121438" y="3236950"/>
              <a:chExt cx="602030" cy="602028"/>
            </a:xfrm>
          </p:grpSpPr>
          <p:sp>
            <p:nvSpPr>
              <p:cNvPr id="71" name="Oval 70">
                <a:extLst>
                  <a:ext uri="{FF2B5EF4-FFF2-40B4-BE49-F238E27FC236}">
                    <a16:creationId xmlns:a16="http://schemas.microsoft.com/office/drawing/2014/main" id="{E3BD1D99-A9C3-4E27-BCDF-6A76A1466C1A}"/>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72" name="TextBox 71">
                <a:extLst>
                  <a:ext uri="{FF2B5EF4-FFF2-40B4-BE49-F238E27FC236}">
                    <a16:creationId xmlns:a16="http://schemas.microsoft.com/office/drawing/2014/main" id="{0ED7FCFD-775A-448F-ABF7-9CC6A6FA3F3B}"/>
                  </a:ext>
                </a:extLst>
              </p:cNvPr>
              <p:cNvSpPr txBox="1"/>
              <p:nvPr/>
            </p:nvSpPr>
            <p:spPr>
              <a:xfrm>
                <a:off x="7166788" y="3343042"/>
                <a:ext cx="511332"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5</a:t>
                </a:r>
                <a:endParaRPr lang="id-ID" b="1" dirty="0">
                  <a:solidFill>
                    <a:schemeClr val="tx1">
                      <a:lumMod val="65000"/>
                      <a:lumOff val="35000"/>
                    </a:schemeClr>
                  </a:solidFill>
                  <a:latin typeface="Montserrat" panose="00000500000000000000" pitchFamily="50" charset="0"/>
                </a:endParaRPr>
              </a:p>
            </p:txBody>
          </p:sp>
        </p:grpSp>
        <p:grpSp>
          <p:nvGrpSpPr>
            <p:cNvPr id="68" name="Group 67">
              <a:extLst>
                <a:ext uri="{FF2B5EF4-FFF2-40B4-BE49-F238E27FC236}">
                  <a16:creationId xmlns:a16="http://schemas.microsoft.com/office/drawing/2014/main" id="{000B9CA1-49FE-4B90-8A9A-B9B1C96B5708}"/>
                </a:ext>
              </a:extLst>
            </p:cNvPr>
            <p:cNvGrpSpPr/>
            <p:nvPr/>
          </p:nvGrpSpPr>
          <p:grpSpPr>
            <a:xfrm>
              <a:off x="5297372" y="2554270"/>
              <a:ext cx="570354" cy="570352"/>
              <a:chOff x="7121438" y="3236950"/>
              <a:chExt cx="602030" cy="602028"/>
            </a:xfrm>
          </p:grpSpPr>
          <p:sp>
            <p:nvSpPr>
              <p:cNvPr id="69" name="Oval 68">
                <a:extLst>
                  <a:ext uri="{FF2B5EF4-FFF2-40B4-BE49-F238E27FC236}">
                    <a16:creationId xmlns:a16="http://schemas.microsoft.com/office/drawing/2014/main" id="{BD33CFD3-B299-48A3-B09E-308FE601B961}"/>
                  </a:ext>
                </a:extLst>
              </p:cNvPr>
              <p:cNvSpPr/>
              <p:nvPr/>
            </p:nvSpPr>
            <p:spPr>
              <a:xfrm>
                <a:off x="7121438" y="3236950"/>
                <a:ext cx="602030" cy="602028"/>
              </a:xfrm>
              <a:prstGeom prst="ellipse">
                <a:avLst/>
              </a:prstGeom>
              <a:solidFill>
                <a:schemeClr val="bg1"/>
              </a:solidFill>
              <a:ln>
                <a:noFill/>
              </a:ln>
              <a:effectLst>
                <a:outerShdw blurRad="2540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70" name="TextBox 69">
                <a:extLst>
                  <a:ext uri="{FF2B5EF4-FFF2-40B4-BE49-F238E27FC236}">
                    <a16:creationId xmlns:a16="http://schemas.microsoft.com/office/drawing/2014/main" id="{3CB95FBB-DA5F-4F82-B1D1-C9F2B0E51C8E}"/>
                  </a:ext>
                </a:extLst>
              </p:cNvPr>
              <p:cNvSpPr txBox="1"/>
              <p:nvPr/>
            </p:nvSpPr>
            <p:spPr>
              <a:xfrm>
                <a:off x="7161711" y="3343042"/>
                <a:ext cx="521484" cy="389844"/>
              </a:xfrm>
              <a:prstGeom prst="rect">
                <a:avLst/>
              </a:prstGeom>
              <a:noFill/>
            </p:spPr>
            <p:txBody>
              <a:bodyPr wrap="none" rtlCol="0" anchor="ctr">
                <a:spAutoFit/>
              </a:bodyPr>
              <a:lstStyle/>
              <a:p>
                <a:pPr algn="ctr"/>
                <a:r>
                  <a:rPr lang="en-US" b="1" dirty="0">
                    <a:solidFill>
                      <a:schemeClr val="tx1">
                        <a:lumMod val="65000"/>
                        <a:lumOff val="35000"/>
                      </a:schemeClr>
                    </a:solidFill>
                    <a:latin typeface="Montserrat" panose="00000500000000000000" pitchFamily="50" charset="0"/>
                  </a:rPr>
                  <a:t>08</a:t>
                </a:r>
                <a:endParaRPr lang="id-ID" b="1" dirty="0">
                  <a:solidFill>
                    <a:schemeClr val="tx1">
                      <a:lumMod val="65000"/>
                      <a:lumOff val="35000"/>
                    </a:schemeClr>
                  </a:solidFill>
                  <a:latin typeface="Montserrat" panose="00000500000000000000" pitchFamily="50" charset="0"/>
                </a:endParaRPr>
              </a:p>
            </p:txBody>
          </p:sp>
        </p:grpSp>
      </p:grpSp>
      <p:sp>
        <p:nvSpPr>
          <p:cNvPr id="107" name="TextBox 106">
            <a:extLst>
              <a:ext uri="{FF2B5EF4-FFF2-40B4-BE49-F238E27FC236}">
                <a16:creationId xmlns:a16="http://schemas.microsoft.com/office/drawing/2014/main" id="{812E0245-B9B9-4D1F-8CD2-92720E2A182D}"/>
              </a:ext>
            </a:extLst>
          </p:cNvPr>
          <p:cNvSpPr txBox="1"/>
          <p:nvPr/>
        </p:nvSpPr>
        <p:spPr>
          <a:xfrm flipH="1">
            <a:off x="802758" y="668900"/>
            <a:ext cx="3285316" cy="523220"/>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What processes do we have in place to deal with Cyber Threats?</a:t>
            </a:r>
          </a:p>
        </p:txBody>
      </p:sp>
      <p:sp>
        <p:nvSpPr>
          <p:cNvPr id="108" name="TextBox 107">
            <a:extLst>
              <a:ext uri="{FF2B5EF4-FFF2-40B4-BE49-F238E27FC236}">
                <a16:creationId xmlns:a16="http://schemas.microsoft.com/office/drawing/2014/main" id="{E04C2AB2-910D-4C27-B04D-F2E15322ADDC}"/>
              </a:ext>
            </a:extLst>
          </p:cNvPr>
          <p:cNvSpPr txBox="1"/>
          <p:nvPr/>
        </p:nvSpPr>
        <p:spPr>
          <a:xfrm flipH="1">
            <a:off x="306286" y="1602143"/>
            <a:ext cx="2614102" cy="738664"/>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Do we meet the information security requirements to bid for government contracts?</a:t>
            </a:r>
          </a:p>
        </p:txBody>
      </p:sp>
      <p:sp>
        <p:nvSpPr>
          <p:cNvPr id="109" name="TextBox 108">
            <a:extLst>
              <a:ext uri="{FF2B5EF4-FFF2-40B4-BE49-F238E27FC236}">
                <a16:creationId xmlns:a16="http://schemas.microsoft.com/office/drawing/2014/main" id="{4F30EED1-2A94-429B-AB69-8B9CC748E1DA}"/>
              </a:ext>
            </a:extLst>
          </p:cNvPr>
          <p:cNvSpPr txBox="1"/>
          <p:nvPr/>
        </p:nvSpPr>
        <p:spPr>
          <a:xfrm flipH="1">
            <a:off x="195333" y="3129953"/>
            <a:ext cx="2571131" cy="738664"/>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Does our organization meet all of its obligations for information assurance?</a:t>
            </a:r>
          </a:p>
        </p:txBody>
      </p:sp>
      <p:sp>
        <p:nvSpPr>
          <p:cNvPr id="110" name="TextBox 109">
            <a:extLst>
              <a:ext uri="{FF2B5EF4-FFF2-40B4-BE49-F238E27FC236}">
                <a16:creationId xmlns:a16="http://schemas.microsoft.com/office/drawing/2014/main" id="{6A5AB1EA-CE21-4113-85F1-58ED94A5DFD9}"/>
              </a:ext>
            </a:extLst>
          </p:cNvPr>
          <p:cNvSpPr txBox="1"/>
          <p:nvPr/>
        </p:nvSpPr>
        <p:spPr>
          <a:xfrm flipH="1">
            <a:off x="1405650" y="4405314"/>
            <a:ext cx="2789716" cy="523220"/>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Do any of our supply chain partners put us at risk?</a:t>
            </a:r>
          </a:p>
        </p:txBody>
      </p:sp>
      <p:sp>
        <p:nvSpPr>
          <p:cNvPr id="111" name="TextBox 110">
            <a:extLst>
              <a:ext uri="{FF2B5EF4-FFF2-40B4-BE49-F238E27FC236}">
                <a16:creationId xmlns:a16="http://schemas.microsoft.com/office/drawing/2014/main" id="{F70419F7-610E-4614-92D0-285CEBACD1B4}"/>
              </a:ext>
            </a:extLst>
          </p:cNvPr>
          <p:cNvSpPr txBox="1"/>
          <p:nvPr/>
        </p:nvSpPr>
        <p:spPr>
          <a:xfrm flipH="1">
            <a:off x="5751001" y="661126"/>
            <a:ext cx="2651105" cy="738664"/>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Who in our organization is responsible for Cyber Security issues?</a:t>
            </a:r>
          </a:p>
        </p:txBody>
      </p:sp>
      <p:sp>
        <p:nvSpPr>
          <p:cNvPr id="112" name="TextBox 111">
            <a:extLst>
              <a:ext uri="{FF2B5EF4-FFF2-40B4-BE49-F238E27FC236}">
                <a16:creationId xmlns:a16="http://schemas.microsoft.com/office/drawing/2014/main" id="{999C0FE4-8D9D-4882-9E96-CB423F1FC05B}"/>
              </a:ext>
            </a:extLst>
          </p:cNvPr>
          <p:cNvSpPr txBox="1"/>
          <p:nvPr/>
        </p:nvSpPr>
        <p:spPr>
          <a:xfrm flipH="1">
            <a:off x="6580660" y="1899598"/>
            <a:ext cx="2651105" cy="523220"/>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What are our Key information Assets?</a:t>
            </a:r>
          </a:p>
        </p:txBody>
      </p:sp>
      <p:sp>
        <p:nvSpPr>
          <p:cNvPr id="113" name="TextBox 112">
            <a:extLst>
              <a:ext uri="{FF2B5EF4-FFF2-40B4-BE49-F238E27FC236}">
                <a16:creationId xmlns:a16="http://schemas.microsoft.com/office/drawing/2014/main" id="{9A8B0C7C-C291-4F02-8574-485F8CB7D52E}"/>
              </a:ext>
            </a:extLst>
          </p:cNvPr>
          <p:cNvSpPr txBox="1"/>
          <p:nvPr/>
        </p:nvSpPr>
        <p:spPr>
          <a:xfrm flipH="1">
            <a:off x="5435009" y="4470694"/>
            <a:ext cx="2967097" cy="307777"/>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What is our risk appetite?</a:t>
            </a:r>
          </a:p>
        </p:txBody>
      </p:sp>
      <p:sp>
        <p:nvSpPr>
          <p:cNvPr id="4" name="TextBox 3">
            <a:extLst>
              <a:ext uri="{FF2B5EF4-FFF2-40B4-BE49-F238E27FC236}">
                <a16:creationId xmlns:a16="http://schemas.microsoft.com/office/drawing/2014/main" id="{1453B637-C277-44D9-B2D9-823121321E23}"/>
              </a:ext>
            </a:extLst>
          </p:cNvPr>
          <p:cNvSpPr txBox="1"/>
          <p:nvPr/>
        </p:nvSpPr>
        <p:spPr>
          <a:xfrm flipH="1">
            <a:off x="6434911" y="3226191"/>
            <a:ext cx="2464540" cy="738664"/>
          </a:xfrm>
          <a:prstGeom prst="rect">
            <a:avLst/>
          </a:prstGeom>
          <a:noFill/>
        </p:spPr>
        <p:txBody>
          <a:bodyPr wrap="square" rtlCol="0">
            <a:spAutoFit/>
          </a:bodyPr>
          <a:lstStyle>
            <a:defPPr>
              <a:defRPr lang="en-US"/>
            </a:defPPr>
            <a:lvl1pPr>
              <a:defRPr sz="1200">
                <a:solidFill>
                  <a:schemeClr val="bg1">
                    <a:lumMod val="65000"/>
                  </a:schemeClr>
                </a:solidFill>
              </a:defRPr>
            </a:lvl1pPr>
          </a:lstStyle>
          <a:p>
            <a:r>
              <a:rPr lang="en-US" sz="1400" b="1" dirty="0">
                <a:solidFill>
                  <a:schemeClr val="bg1"/>
                </a:solidFill>
              </a:rPr>
              <a:t>Do we fully understand our current vulnerabilities?</a:t>
            </a:r>
          </a:p>
        </p:txBody>
      </p:sp>
    </p:spTree>
    <p:extLst>
      <p:ext uri="{BB962C8B-B14F-4D97-AF65-F5344CB8AC3E}">
        <p14:creationId xmlns:p14="http://schemas.microsoft.com/office/powerpoint/2010/main" val="866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750" fill="hold"/>
                                        <p:tgtEl>
                                          <p:spTgt spid="32"/>
                                        </p:tgtEl>
                                        <p:attrNameLst>
                                          <p:attrName>ppt_x</p:attrName>
                                        </p:attrNameLst>
                                      </p:cBhvr>
                                      <p:tavLst>
                                        <p:tav tm="0">
                                          <p:val>
                                            <p:strVal val="#ppt_x"/>
                                          </p:val>
                                        </p:tav>
                                        <p:tav tm="100000">
                                          <p:val>
                                            <p:strVal val="#ppt_x"/>
                                          </p:val>
                                        </p:tav>
                                      </p:tavLst>
                                    </p:anim>
                                    <p:anim calcmode="lin" valueType="num">
                                      <p:cBhvr additive="base">
                                        <p:cTn id="8" dur="750" fill="hold"/>
                                        <p:tgtEl>
                                          <p:spTgt spid="32"/>
                                        </p:tgtEl>
                                        <p:attrNameLst>
                                          <p:attrName>ppt_y</p:attrName>
                                        </p:attrNameLst>
                                      </p:cBhvr>
                                      <p:tavLst>
                                        <p:tav tm="0">
                                          <p:val>
                                            <p:strVal val="1+#ppt_h/2"/>
                                          </p:val>
                                        </p:tav>
                                        <p:tav tm="100000">
                                          <p:val>
                                            <p:strVal val="#ppt_y"/>
                                          </p:val>
                                        </p:tav>
                                      </p:tavLst>
                                    </p:anim>
                                  </p:childTnLst>
                                </p:cTn>
                              </p:par>
                              <p:par>
                                <p:cTn id="9" presetID="49" presetClass="entr" presetSubtype="0" decel="100000"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p:cTn id="11" dur="750" fill="hold"/>
                                        <p:tgtEl>
                                          <p:spTgt spid="32"/>
                                        </p:tgtEl>
                                        <p:attrNameLst>
                                          <p:attrName>ppt_w</p:attrName>
                                        </p:attrNameLst>
                                      </p:cBhvr>
                                      <p:tavLst>
                                        <p:tav tm="0">
                                          <p:val>
                                            <p:fltVal val="0"/>
                                          </p:val>
                                        </p:tav>
                                        <p:tav tm="100000">
                                          <p:val>
                                            <p:strVal val="#ppt_w"/>
                                          </p:val>
                                        </p:tav>
                                      </p:tavLst>
                                    </p:anim>
                                    <p:anim calcmode="lin" valueType="num">
                                      <p:cBhvr>
                                        <p:cTn id="12" dur="750" fill="hold"/>
                                        <p:tgtEl>
                                          <p:spTgt spid="32"/>
                                        </p:tgtEl>
                                        <p:attrNameLst>
                                          <p:attrName>ppt_h</p:attrName>
                                        </p:attrNameLst>
                                      </p:cBhvr>
                                      <p:tavLst>
                                        <p:tav tm="0">
                                          <p:val>
                                            <p:fltVal val="0"/>
                                          </p:val>
                                        </p:tav>
                                        <p:tav tm="100000">
                                          <p:val>
                                            <p:strVal val="#ppt_h"/>
                                          </p:val>
                                        </p:tav>
                                      </p:tavLst>
                                    </p:anim>
                                    <p:anim calcmode="lin" valueType="num">
                                      <p:cBhvr>
                                        <p:cTn id="13" dur="750" fill="hold"/>
                                        <p:tgtEl>
                                          <p:spTgt spid="32"/>
                                        </p:tgtEl>
                                        <p:attrNameLst>
                                          <p:attrName>style.rotation</p:attrName>
                                        </p:attrNameLst>
                                      </p:cBhvr>
                                      <p:tavLst>
                                        <p:tav tm="0">
                                          <p:val>
                                            <p:fltVal val="360"/>
                                          </p:val>
                                        </p:tav>
                                        <p:tav tm="100000">
                                          <p:val>
                                            <p:fltVal val="0"/>
                                          </p:val>
                                        </p:tav>
                                      </p:tavLst>
                                    </p:anim>
                                    <p:animEffect transition="in" filter="fade">
                                      <p:cBhvr>
                                        <p:cTn id="14"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17CFF4D-188A-9B4F-B126-DB3563792BF8}"/>
              </a:ext>
            </a:extLst>
          </p:cNvPr>
          <p:cNvGrpSpPr/>
          <p:nvPr/>
        </p:nvGrpSpPr>
        <p:grpSpPr>
          <a:xfrm>
            <a:off x="311792" y="1581913"/>
            <a:ext cx="6436933" cy="1638992"/>
            <a:chOff x="281594" y="1828800"/>
            <a:chExt cx="8582577" cy="2185323"/>
          </a:xfrm>
        </p:grpSpPr>
        <p:cxnSp>
          <p:nvCxnSpPr>
            <p:cNvPr id="5" name="Straight Connector 4">
              <a:extLst>
                <a:ext uri="{FF2B5EF4-FFF2-40B4-BE49-F238E27FC236}">
                  <a16:creationId xmlns:a16="http://schemas.microsoft.com/office/drawing/2014/main" id="{8B56BD10-DC3C-8443-BBCE-ED8DB1821723}"/>
                </a:ext>
              </a:extLst>
            </p:cNvPr>
            <p:cNvCxnSpPr/>
            <p:nvPr/>
          </p:nvCxnSpPr>
          <p:spPr>
            <a:xfrm>
              <a:off x="729744" y="4014123"/>
              <a:ext cx="1226177" cy="0"/>
            </a:xfrm>
            <a:prstGeom prst="line">
              <a:avLst/>
            </a:prstGeom>
            <a:ln w="444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82A1C29-CFCF-CA4B-BB6E-771BAC5E5174}"/>
                </a:ext>
              </a:extLst>
            </p:cNvPr>
            <p:cNvSpPr/>
            <p:nvPr/>
          </p:nvSpPr>
          <p:spPr>
            <a:xfrm>
              <a:off x="281594" y="3011767"/>
              <a:ext cx="8582577" cy="926249"/>
            </a:xfrm>
            <a:prstGeom prst="rect">
              <a:avLst/>
            </a:prstGeom>
            <a:noFill/>
            <a:ln w="12700">
              <a:noFill/>
            </a:ln>
            <a:effectLst>
              <a:outerShdw blurRad="1270000" dist="38100" dir="2700000" sx="200000" sy="2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36000" rIns="252000" bIns="36000" rtlCol="0" anchor="ctr"/>
            <a:lstStyle/>
            <a:p>
              <a:pPr defTabSz="685562" fontAlgn="auto">
                <a:spcBef>
                  <a:spcPts val="0"/>
                </a:spcBef>
                <a:spcAft>
                  <a:spcPts val="0"/>
                </a:spcAft>
              </a:pPr>
              <a:r>
                <a:rPr lang="en-US" sz="3600" b="1" dirty="0">
                  <a:solidFill>
                    <a:prstClr val="white"/>
                  </a:solidFill>
                  <a:ea typeface="Georgia" charset="0"/>
                  <a:cs typeface="Georgia" charset="0"/>
                </a:rPr>
                <a:t>Live Hacking Demo</a:t>
              </a:r>
            </a:p>
          </p:txBody>
        </p:sp>
        <p:sp>
          <p:nvSpPr>
            <p:cNvPr id="7" name="Oval 6">
              <a:extLst>
                <a:ext uri="{FF2B5EF4-FFF2-40B4-BE49-F238E27FC236}">
                  <a16:creationId xmlns:a16="http://schemas.microsoft.com/office/drawing/2014/main" id="{952C0217-260B-644D-9C0C-51920E66E993}"/>
                </a:ext>
              </a:extLst>
            </p:cNvPr>
            <p:cNvSpPr/>
            <p:nvPr/>
          </p:nvSpPr>
          <p:spPr>
            <a:xfrm>
              <a:off x="658368" y="1828800"/>
              <a:ext cx="1072896" cy="1072896"/>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562" fontAlgn="auto">
                <a:lnSpc>
                  <a:spcPct val="110000"/>
                </a:lnSpc>
                <a:spcBef>
                  <a:spcPts val="150"/>
                </a:spcBef>
                <a:spcAft>
                  <a:spcPts val="150"/>
                </a:spcAft>
              </a:pPr>
              <a:endParaRPr lang="en-US" sz="1200" dirty="0">
                <a:solidFill>
                  <a:prstClr val="white"/>
                </a:solidFill>
              </a:endParaRPr>
            </a:p>
          </p:txBody>
        </p:sp>
      </p:grpSp>
      <p:pic>
        <p:nvPicPr>
          <p:cNvPr id="9" name="Picture 8">
            <a:extLst>
              <a:ext uri="{FF2B5EF4-FFF2-40B4-BE49-F238E27FC236}">
                <a16:creationId xmlns:a16="http://schemas.microsoft.com/office/drawing/2014/main" id="{CEAFAF9A-F544-CD4F-BD53-C5E633A367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4298" y="1706480"/>
            <a:ext cx="549704" cy="549704"/>
          </a:xfrm>
          <a:prstGeom prst="rect">
            <a:avLst/>
          </a:prstGeom>
        </p:spPr>
      </p:pic>
    </p:spTree>
    <p:extLst>
      <p:ext uri="{BB962C8B-B14F-4D97-AF65-F5344CB8AC3E}">
        <p14:creationId xmlns:p14="http://schemas.microsoft.com/office/powerpoint/2010/main" val="22766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a:extLst>
              <a:ext uri="{FF2B5EF4-FFF2-40B4-BE49-F238E27FC236}">
                <a16:creationId xmlns:a16="http://schemas.microsoft.com/office/drawing/2014/main" id="{8F3AC4A6-0BB1-4C9C-9753-96FF087FA767}"/>
              </a:ext>
            </a:extLst>
          </p:cNvPr>
          <p:cNvGrpSpPr/>
          <p:nvPr/>
        </p:nvGrpSpPr>
        <p:grpSpPr>
          <a:xfrm>
            <a:off x="942192" y="1332606"/>
            <a:ext cx="2893857" cy="1626239"/>
            <a:chOff x="588264" y="2023566"/>
            <a:chExt cx="3858476" cy="2168318"/>
          </a:xfrm>
        </p:grpSpPr>
        <p:sp>
          <p:nvSpPr>
            <p:cNvPr id="219" name="Text Placeholder 2">
              <a:extLst>
                <a:ext uri="{FF2B5EF4-FFF2-40B4-BE49-F238E27FC236}">
                  <a16:creationId xmlns:a16="http://schemas.microsoft.com/office/drawing/2014/main" id="{F3DFB983-FE78-4DAB-9D4F-89F7EDC3834B}"/>
                </a:ext>
              </a:extLst>
            </p:cNvPr>
            <p:cNvSpPr txBox="1">
              <a:spLocks/>
            </p:cNvSpPr>
            <p:nvPr/>
          </p:nvSpPr>
          <p:spPr>
            <a:xfrm>
              <a:off x="588264"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endParaRPr lang="en-US" sz="1350">
                <a:gradFill>
                  <a:gsLst>
                    <a:gs pos="0">
                      <a:srgbClr val="1A1A1A"/>
                    </a:gs>
                    <a:gs pos="100000">
                      <a:srgbClr val="1A1A1A"/>
                    </a:gs>
                  </a:gsLst>
                  <a:lin ang="5400000" scaled="0"/>
                </a:gradFill>
                <a:latin typeface="Segoe UI"/>
              </a:endParaRPr>
            </a:p>
          </p:txBody>
        </p:sp>
        <p:sp>
          <p:nvSpPr>
            <p:cNvPr id="220" name="Text Placeholder 2">
              <a:extLst>
                <a:ext uri="{FF2B5EF4-FFF2-40B4-BE49-F238E27FC236}">
                  <a16:creationId xmlns:a16="http://schemas.microsoft.com/office/drawing/2014/main" id="{51B88EB9-2CFE-4BD2-84BF-3D192E752B63}"/>
                </a:ext>
              </a:extLst>
            </p:cNvPr>
            <p:cNvSpPr txBox="1">
              <a:spLocks/>
            </p:cNvSpPr>
            <p:nvPr/>
          </p:nvSpPr>
          <p:spPr>
            <a:xfrm>
              <a:off x="588264"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r>
                <a:rPr lang="en-US" sz="1350" b="1" dirty="0">
                  <a:gradFill>
                    <a:gsLst>
                      <a:gs pos="0">
                        <a:srgbClr val="1A1A1A"/>
                      </a:gs>
                      <a:gs pos="100000">
                        <a:srgbClr val="1A1A1A"/>
                      </a:gs>
                    </a:gsLst>
                    <a:lin ang="5400000" scaled="0"/>
                  </a:gradFill>
                  <a:latin typeface="Segoe UI"/>
                </a:rPr>
                <a:t>Reliability: </a:t>
              </a:r>
              <a:br>
                <a:rPr lang="en-US" sz="1350" b="1" dirty="0">
                  <a:gradFill>
                    <a:gsLst>
                      <a:gs pos="0">
                        <a:srgbClr val="1A1A1A"/>
                      </a:gs>
                      <a:gs pos="100000">
                        <a:srgbClr val="1A1A1A"/>
                      </a:gs>
                    </a:gsLst>
                    <a:lin ang="5400000" scaled="0"/>
                  </a:gradFill>
                  <a:latin typeface="Segoe UI"/>
                </a:rPr>
              </a:br>
              <a:r>
                <a:rPr lang="en-US" sz="1350" dirty="0">
                  <a:gradFill>
                    <a:gsLst>
                      <a:gs pos="0">
                        <a:srgbClr val="1A1A1A"/>
                      </a:gs>
                      <a:gs pos="100000">
                        <a:srgbClr val="1A1A1A"/>
                      </a:gs>
                    </a:gsLst>
                    <a:lin ang="5400000" scaled="0"/>
                  </a:gradFill>
                  <a:latin typeface="Segoe UI"/>
                </a:rPr>
                <a:t>Designed not to fail</a:t>
              </a:r>
            </a:p>
          </p:txBody>
        </p:sp>
        <p:grpSp>
          <p:nvGrpSpPr>
            <p:cNvPr id="3136" name="Group 3135">
              <a:extLst>
                <a:ext uri="{FF2B5EF4-FFF2-40B4-BE49-F238E27FC236}">
                  <a16:creationId xmlns:a16="http://schemas.microsoft.com/office/drawing/2014/main" id="{CD098ABD-5CC3-4483-B5F9-83779DE9E78A}"/>
                </a:ext>
              </a:extLst>
            </p:cNvPr>
            <p:cNvGrpSpPr/>
            <p:nvPr/>
          </p:nvGrpSpPr>
          <p:grpSpPr>
            <a:xfrm>
              <a:off x="1771546" y="2906232"/>
              <a:ext cx="1484557" cy="1055037"/>
              <a:chOff x="1193582" y="2486142"/>
              <a:chExt cx="1883076" cy="1338254"/>
            </a:xfrm>
          </p:grpSpPr>
          <p:sp>
            <p:nvSpPr>
              <p:cNvPr id="213" name="server">
                <a:extLst>
                  <a:ext uri="{FF2B5EF4-FFF2-40B4-BE49-F238E27FC236}">
                    <a16:creationId xmlns:a16="http://schemas.microsoft.com/office/drawing/2014/main" id="{1D71D73B-1690-4424-98ED-EC527905ACB2}"/>
                  </a:ext>
                </a:extLst>
              </p:cNvP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10" name="desktop">
                <a:extLst>
                  <a:ext uri="{FF2B5EF4-FFF2-40B4-BE49-F238E27FC236}">
                    <a16:creationId xmlns:a16="http://schemas.microsoft.com/office/drawing/2014/main" id="{D9AB657E-552D-4232-A388-79017BF8653F}"/>
                  </a:ext>
                </a:extLst>
              </p:cNvPr>
              <p:cNvSpPr>
                <a:spLocks noChangeAspect="1" noEditPoints="1"/>
              </p:cNvSpPr>
              <p:nvPr/>
            </p:nvSpPr>
            <p:spPr bwMode="auto">
              <a:xfrm>
                <a:off x="1763778" y="2819172"/>
                <a:ext cx="967107" cy="9513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34925" cap="sq">
                <a:solidFill>
                  <a:srgbClr val="002060"/>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12" name="Laptop_E770">
                <a:extLst>
                  <a:ext uri="{FF2B5EF4-FFF2-40B4-BE49-F238E27FC236}">
                    <a16:creationId xmlns:a16="http://schemas.microsoft.com/office/drawing/2014/main" id="{17A99B9E-2CA7-4644-BC2C-83EF947A984C}"/>
                  </a:ext>
                </a:extLst>
              </p:cNvPr>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rgbClr val="002060"/>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11" name="arrow_12">
                <a:extLst>
                  <a:ext uri="{FF2B5EF4-FFF2-40B4-BE49-F238E27FC236}">
                    <a16:creationId xmlns:a16="http://schemas.microsoft.com/office/drawing/2014/main" id="{0FE84D97-A167-4C16-B03B-D415FA07AFF0}"/>
                  </a:ext>
                </a:extLst>
              </p:cNvPr>
              <p:cNvSpPr>
                <a:spLocks noChangeAspect="1" noEditPoints="1"/>
              </p:cNvSpPr>
              <p:nvPr/>
            </p:nvSpPr>
            <p:spPr bwMode="auto">
              <a:xfrm rot="2145190">
                <a:off x="1572367" y="2630245"/>
                <a:ext cx="378626" cy="372264"/>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solidFill>
                <a:schemeClr val="bg1"/>
              </a:solidFill>
              <a:ln w="22225" cap="sq">
                <a:solidFill>
                  <a:srgbClr val="E81123"/>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675">
                  <a:gradFill>
                    <a:gsLst>
                      <a:gs pos="0">
                        <a:srgbClr val="505050"/>
                      </a:gs>
                      <a:gs pos="100000">
                        <a:srgbClr val="505050"/>
                      </a:gs>
                    </a:gsLst>
                    <a:lin ang="5400000" scaled="1"/>
                  </a:gradFill>
                  <a:latin typeface="Segoe UI"/>
                  <a:ea typeface="+mn-ea"/>
                  <a:cs typeface="+mn-cs"/>
                </a:endParaRPr>
              </a:p>
            </p:txBody>
          </p:sp>
        </p:grpSp>
      </p:grpSp>
      <p:grpSp>
        <p:nvGrpSpPr>
          <p:cNvPr id="247" name="Group 246">
            <a:extLst>
              <a:ext uri="{FF2B5EF4-FFF2-40B4-BE49-F238E27FC236}">
                <a16:creationId xmlns:a16="http://schemas.microsoft.com/office/drawing/2014/main" id="{591A9B74-991C-4203-9800-A2375B87AE17}"/>
              </a:ext>
            </a:extLst>
          </p:cNvPr>
          <p:cNvGrpSpPr/>
          <p:nvPr/>
        </p:nvGrpSpPr>
        <p:grpSpPr>
          <a:xfrm>
            <a:off x="943097" y="3148990"/>
            <a:ext cx="2893857" cy="1626239"/>
            <a:chOff x="589471" y="4445411"/>
            <a:chExt cx="3858476" cy="2168318"/>
          </a:xfrm>
        </p:grpSpPr>
        <p:sp>
          <p:nvSpPr>
            <p:cNvPr id="217" name="Text Placeholder 2">
              <a:extLst>
                <a:ext uri="{FF2B5EF4-FFF2-40B4-BE49-F238E27FC236}">
                  <a16:creationId xmlns:a16="http://schemas.microsoft.com/office/drawing/2014/main" id="{0B3A225A-7359-496B-8F21-0EEF40750DDF}"/>
                </a:ext>
              </a:extLst>
            </p:cNvPr>
            <p:cNvSpPr txBox="1">
              <a:spLocks/>
            </p:cNvSpPr>
            <p:nvPr/>
          </p:nvSpPr>
          <p:spPr>
            <a:xfrm>
              <a:off x="589471"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endParaRPr lang="en-US" sz="1350">
                <a:gradFill>
                  <a:gsLst>
                    <a:gs pos="0">
                      <a:srgbClr val="1A1A1A"/>
                    </a:gs>
                    <a:gs pos="100000">
                      <a:srgbClr val="1A1A1A"/>
                    </a:gs>
                  </a:gsLst>
                  <a:lin ang="5400000" scaled="0"/>
                </a:gradFill>
                <a:latin typeface="Segoe UI"/>
              </a:endParaRPr>
            </a:p>
          </p:txBody>
        </p:sp>
        <p:sp>
          <p:nvSpPr>
            <p:cNvPr id="218" name="Text Placeholder 2">
              <a:extLst>
                <a:ext uri="{FF2B5EF4-FFF2-40B4-BE49-F238E27FC236}">
                  <a16:creationId xmlns:a16="http://schemas.microsoft.com/office/drawing/2014/main" id="{6CA3B4A4-6541-42A6-9BEA-82EE8E8D1F0B}"/>
                </a:ext>
              </a:extLst>
            </p:cNvPr>
            <p:cNvSpPr txBox="1">
              <a:spLocks/>
            </p:cNvSpPr>
            <p:nvPr/>
          </p:nvSpPr>
          <p:spPr>
            <a:xfrm>
              <a:off x="589471"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r>
                <a:rPr lang="en-US" sz="1350" b="1" dirty="0">
                  <a:gradFill>
                    <a:gsLst>
                      <a:gs pos="0">
                        <a:srgbClr val="1A1A1A"/>
                      </a:gs>
                      <a:gs pos="100000">
                        <a:srgbClr val="1A1A1A"/>
                      </a:gs>
                    </a:gsLst>
                    <a:lin ang="5400000" scaled="0"/>
                  </a:gradFill>
                  <a:latin typeface="Segoe UI"/>
                </a:rPr>
                <a:t>Prevent: </a:t>
              </a:r>
              <a:br>
                <a:rPr lang="en-US" sz="1350" b="1" dirty="0">
                  <a:gradFill>
                    <a:gsLst>
                      <a:gs pos="0">
                        <a:srgbClr val="1A1A1A"/>
                      </a:gs>
                      <a:gs pos="100000">
                        <a:srgbClr val="1A1A1A"/>
                      </a:gs>
                    </a:gsLst>
                    <a:lin ang="5400000" scaled="0"/>
                  </a:gradFill>
                  <a:latin typeface="Segoe UI"/>
                </a:rPr>
              </a:br>
              <a:r>
                <a:rPr lang="en-US" sz="1350" dirty="0">
                  <a:gradFill>
                    <a:gsLst>
                      <a:gs pos="0">
                        <a:srgbClr val="1A1A1A"/>
                      </a:gs>
                      <a:gs pos="100000">
                        <a:srgbClr val="1A1A1A"/>
                      </a:gs>
                    </a:gsLst>
                    <a:lin ang="5400000" scaled="0"/>
                  </a:gradFill>
                  <a:latin typeface="Segoe UI"/>
                </a:rPr>
                <a:t>Every possible attack</a:t>
              </a:r>
            </a:p>
          </p:txBody>
        </p:sp>
        <p:grpSp>
          <p:nvGrpSpPr>
            <p:cNvPr id="24" name="Group 23">
              <a:extLst>
                <a:ext uri="{FF2B5EF4-FFF2-40B4-BE49-F238E27FC236}">
                  <a16:creationId xmlns:a16="http://schemas.microsoft.com/office/drawing/2014/main" id="{3F8BD709-F842-4D80-9B31-397AAB6ADFD4}"/>
                </a:ext>
              </a:extLst>
            </p:cNvPr>
            <p:cNvGrpSpPr/>
            <p:nvPr/>
          </p:nvGrpSpPr>
          <p:grpSpPr>
            <a:xfrm>
              <a:off x="1512616" y="5394811"/>
              <a:ext cx="1651512" cy="887554"/>
              <a:chOff x="1963914" y="3000029"/>
              <a:chExt cx="1413599" cy="759695"/>
            </a:xfrm>
          </p:grpSpPr>
          <p:sp>
            <p:nvSpPr>
              <p:cNvPr id="200" name="Laptop_E770">
                <a:extLst>
                  <a:ext uri="{FF2B5EF4-FFF2-40B4-BE49-F238E27FC236}">
                    <a16:creationId xmlns:a16="http://schemas.microsoft.com/office/drawing/2014/main" id="{F386A911-8C0E-4BBA-B86D-E88533AA5E36}"/>
                  </a:ext>
                </a:extLst>
              </p:cNvPr>
              <p:cNvSpPr>
                <a:spLocks noChangeAspect="1" noEditPoints="1"/>
              </p:cNvSpPr>
              <p:nvPr/>
            </p:nvSpPr>
            <p:spPr bwMode="auto">
              <a:xfrm>
                <a:off x="2239012" y="3000029"/>
                <a:ext cx="1138501" cy="75969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476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199" name="Shield_EA18">
                <a:extLst>
                  <a:ext uri="{FF2B5EF4-FFF2-40B4-BE49-F238E27FC236}">
                    <a16:creationId xmlns:a16="http://schemas.microsoft.com/office/drawing/2014/main" id="{F4406B1C-9464-4233-93E2-11ADEA32670D}"/>
                  </a:ext>
                </a:extLst>
              </p:cNvPr>
              <p:cNvSpPr>
                <a:spLocks noChangeAspect="1"/>
              </p:cNvSpPr>
              <p:nvPr/>
            </p:nvSpPr>
            <p:spPr bwMode="auto">
              <a:xfrm>
                <a:off x="2164312" y="3102594"/>
                <a:ext cx="511448" cy="54452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rgbClr val="002060"/>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cxnSp>
            <p:nvCxnSpPr>
              <p:cNvPr id="195" name="Straight Arrow Connector 194">
                <a:extLst>
                  <a:ext uri="{FF2B5EF4-FFF2-40B4-BE49-F238E27FC236}">
                    <a16:creationId xmlns:a16="http://schemas.microsoft.com/office/drawing/2014/main" id="{6C9AD6F0-8D04-4524-9EBE-91BB0892BA09}"/>
                  </a:ext>
                </a:extLst>
              </p:cNvPr>
              <p:cNvCxnSpPr>
                <a:cxnSpLocks/>
              </p:cNvCxnSpPr>
              <p:nvPr/>
            </p:nvCxnSpPr>
            <p:spPr>
              <a:xfrm>
                <a:off x="1963914" y="3271950"/>
                <a:ext cx="519913" cy="0"/>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6C2472D7-3FD0-4D55-923E-4967A6D44501}"/>
                  </a:ext>
                </a:extLst>
              </p:cNvPr>
              <p:cNvCxnSpPr>
                <a:cxnSpLocks/>
              </p:cNvCxnSpPr>
              <p:nvPr/>
            </p:nvCxnSpPr>
            <p:spPr>
              <a:xfrm flipV="1">
                <a:off x="2056293" y="3395741"/>
                <a:ext cx="493777" cy="110137"/>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C708CDC0-7415-4B59-9226-63A043B096D9}"/>
                  </a:ext>
                </a:extLst>
              </p:cNvPr>
              <p:cNvCxnSpPr>
                <a:cxnSpLocks/>
              </p:cNvCxnSpPr>
              <p:nvPr/>
            </p:nvCxnSpPr>
            <p:spPr>
              <a:xfrm flipH="1">
                <a:off x="2248657" y="3273610"/>
                <a:ext cx="238848" cy="91046"/>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DA46EBEE-C528-43B0-8188-0C5098DB74AB}"/>
                  </a:ext>
                </a:extLst>
              </p:cNvPr>
              <p:cNvCxnSpPr>
                <a:cxnSpLocks/>
              </p:cNvCxnSpPr>
              <p:nvPr/>
            </p:nvCxnSpPr>
            <p:spPr>
              <a:xfrm flipH="1">
                <a:off x="2361196" y="3398580"/>
                <a:ext cx="184875" cy="142704"/>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1665929" y="137915"/>
            <a:ext cx="6060491" cy="358082"/>
          </a:xfrm>
        </p:spPr>
        <p:txBody>
          <a:bodyPr>
            <a:noAutofit/>
          </a:bodyPr>
          <a:lstStyle/>
          <a:p>
            <a:r>
              <a:rPr lang="en-US" sz="2400" b="1" dirty="0">
                <a:solidFill>
                  <a:srgbClr val="002060"/>
                </a:solidFill>
                <a:latin typeface="Arial" panose="020B0604020202020204" pitchFamily="34" charset="0"/>
                <a:cs typeface="Arial" panose="020B0604020202020204" pitchFamily="34" charset="0"/>
              </a:rPr>
              <a:t>The Mind Shift - Designing for Failure </a:t>
            </a:r>
          </a:p>
        </p:txBody>
      </p:sp>
      <p:sp>
        <p:nvSpPr>
          <p:cNvPr id="20" name="TextBox 19"/>
          <p:cNvSpPr txBox="1"/>
          <p:nvPr/>
        </p:nvSpPr>
        <p:spPr>
          <a:xfrm>
            <a:off x="942191" y="778136"/>
            <a:ext cx="1081560" cy="332399"/>
          </a:xfrm>
          <a:prstGeom prst="rect">
            <a:avLst/>
          </a:prstGeom>
        </p:spPr>
        <p:txBody>
          <a:bodyPr wrap="square" lIns="34290" tIns="0" rIns="34290" bIns="0" rtlCol="0">
            <a:spAutoFit/>
          </a:bodyPr>
          <a:lstStyle/>
          <a:p>
            <a:pPr defTabSz="685800" fontAlgn="auto">
              <a:lnSpc>
                <a:spcPct val="90000"/>
              </a:lnSpc>
              <a:spcBef>
                <a:spcPts val="0"/>
              </a:spcBef>
              <a:spcAft>
                <a:spcPts val="0"/>
              </a:spcAft>
              <a:defRPr/>
            </a:pPr>
            <a:r>
              <a:rPr lang="en-US" sz="2400" b="1">
                <a:gradFill>
                  <a:gsLst>
                    <a:gs pos="0">
                      <a:srgbClr val="1A1A1A"/>
                    </a:gs>
                    <a:gs pos="100000">
                      <a:srgbClr val="1A1A1A"/>
                    </a:gs>
                  </a:gsLst>
                  <a:lin ang="5400000" scaled="0"/>
                </a:gradFill>
                <a:latin typeface="Segoe UI"/>
                <a:ea typeface="+mn-ea"/>
                <a:cs typeface="Segoe UI" pitchFamily="34" charset="0"/>
              </a:rPr>
              <a:t>THEN</a:t>
            </a:r>
          </a:p>
        </p:txBody>
      </p:sp>
      <p:sp>
        <p:nvSpPr>
          <p:cNvPr id="21" name="TextBox 20"/>
          <p:cNvSpPr txBox="1"/>
          <p:nvPr/>
        </p:nvSpPr>
        <p:spPr>
          <a:xfrm>
            <a:off x="5440650" y="778136"/>
            <a:ext cx="968339" cy="332399"/>
          </a:xfrm>
          <a:prstGeom prst="rect">
            <a:avLst/>
          </a:prstGeom>
        </p:spPr>
        <p:txBody>
          <a:bodyPr wrap="square" lIns="34290" tIns="0" rIns="34290" bIns="0" rtlCol="0">
            <a:spAutoFit/>
          </a:bodyPr>
          <a:lstStyle/>
          <a:p>
            <a:pPr defTabSz="685800" fontAlgn="auto">
              <a:lnSpc>
                <a:spcPct val="90000"/>
              </a:lnSpc>
              <a:spcBef>
                <a:spcPts val="0"/>
              </a:spcBef>
              <a:spcAft>
                <a:spcPts val="0"/>
              </a:spcAft>
              <a:defRPr/>
            </a:pPr>
            <a:r>
              <a:rPr lang="en-US" sz="2400" b="1">
                <a:gradFill>
                  <a:gsLst>
                    <a:gs pos="0">
                      <a:srgbClr val="0078D4"/>
                    </a:gs>
                    <a:gs pos="100000">
                      <a:srgbClr val="0078D4"/>
                    </a:gs>
                  </a:gsLst>
                  <a:lin ang="5400000" scaled="0"/>
                </a:gradFill>
                <a:latin typeface="Segoe UI"/>
                <a:ea typeface="+mn-ea"/>
                <a:cs typeface="Segoe UI" pitchFamily="34" charset="0"/>
              </a:rPr>
              <a:t>NOW</a:t>
            </a:r>
          </a:p>
        </p:txBody>
      </p:sp>
      <p:sp>
        <p:nvSpPr>
          <p:cNvPr id="26" name="Rectangle 25">
            <a:extLst>
              <a:ext uri="{FF2B5EF4-FFF2-40B4-BE49-F238E27FC236}">
                <a16:creationId xmlns:a16="http://schemas.microsoft.com/office/drawing/2014/main" id="{448713EC-06E3-4EA4-8995-B7563A812618}"/>
              </a:ext>
            </a:extLst>
          </p:cNvPr>
          <p:cNvSpPr/>
          <p:nvPr/>
        </p:nvSpPr>
        <p:spPr bwMode="auto">
          <a:xfrm rot="18900000">
            <a:off x="4158029" y="3751522"/>
            <a:ext cx="498902" cy="4989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Rectangle 25">
            <a:extLst>
              <a:ext uri="{FF2B5EF4-FFF2-40B4-BE49-F238E27FC236}">
                <a16:creationId xmlns:a16="http://schemas.microsoft.com/office/drawing/2014/main" id="{9BA09B97-0EBE-4EDA-854E-5A25DCF05023}"/>
              </a:ext>
            </a:extLst>
          </p:cNvPr>
          <p:cNvSpPr/>
          <p:nvPr/>
        </p:nvSpPr>
        <p:spPr bwMode="auto">
          <a:xfrm rot="18900000">
            <a:off x="4158029" y="1896211"/>
            <a:ext cx="498902" cy="4989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9" name="Group 248">
            <a:extLst>
              <a:ext uri="{FF2B5EF4-FFF2-40B4-BE49-F238E27FC236}">
                <a16:creationId xmlns:a16="http://schemas.microsoft.com/office/drawing/2014/main" id="{6CB2D1B7-0587-4EED-9EBD-104E8E81BB05}"/>
              </a:ext>
            </a:extLst>
          </p:cNvPr>
          <p:cNvGrpSpPr/>
          <p:nvPr/>
        </p:nvGrpSpPr>
        <p:grpSpPr>
          <a:xfrm>
            <a:off x="5441555" y="3148990"/>
            <a:ext cx="2893857" cy="1626239"/>
            <a:chOff x="6587415" y="4445411"/>
            <a:chExt cx="3858476" cy="2168318"/>
          </a:xfrm>
        </p:grpSpPr>
        <p:sp>
          <p:nvSpPr>
            <p:cNvPr id="214" name="Text Placeholder 2">
              <a:extLst>
                <a:ext uri="{FF2B5EF4-FFF2-40B4-BE49-F238E27FC236}">
                  <a16:creationId xmlns:a16="http://schemas.microsoft.com/office/drawing/2014/main" id="{F5E19EC7-A263-4E9C-A418-6B6B0006D88D}"/>
                </a:ext>
              </a:extLst>
            </p:cNvPr>
            <p:cNvSpPr txBox="1">
              <a:spLocks/>
            </p:cNvSpPr>
            <p:nvPr/>
          </p:nvSpPr>
          <p:spPr>
            <a:xfrm>
              <a:off x="6587415"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endParaRPr lang="en-US" sz="1350">
                <a:gradFill>
                  <a:gsLst>
                    <a:gs pos="0">
                      <a:srgbClr val="1A1A1A"/>
                    </a:gs>
                    <a:gs pos="100000">
                      <a:srgbClr val="1A1A1A"/>
                    </a:gs>
                  </a:gsLst>
                  <a:lin ang="5400000" scaled="0"/>
                </a:gradFill>
                <a:latin typeface="Segoe UI"/>
              </a:endParaRPr>
            </a:p>
          </p:txBody>
        </p:sp>
        <p:sp>
          <p:nvSpPr>
            <p:cNvPr id="215" name="Text Placeholder 2">
              <a:extLst>
                <a:ext uri="{FF2B5EF4-FFF2-40B4-BE49-F238E27FC236}">
                  <a16:creationId xmlns:a16="http://schemas.microsoft.com/office/drawing/2014/main" id="{1F42F610-F528-4BF7-B167-BFE082D7CDDD}"/>
                </a:ext>
              </a:extLst>
            </p:cNvPr>
            <p:cNvSpPr txBox="1">
              <a:spLocks/>
            </p:cNvSpPr>
            <p:nvPr/>
          </p:nvSpPr>
          <p:spPr>
            <a:xfrm>
              <a:off x="6587415"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r>
                <a:rPr lang="en-US" sz="1350" b="1">
                  <a:gradFill>
                    <a:gsLst>
                      <a:gs pos="1250">
                        <a:srgbClr val="0078D4"/>
                      </a:gs>
                      <a:gs pos="100000">
                        <a:srgbClr val="0078D4"/>
                      </a:gs>
                    </a:gsLst>
                    <a:lin ang="5400000" scaled="0"/>
                  </a:gradFill>
                  <a:latin typeface="Segoe UI"/>
                </a:rPr>
                <a:t>Assume Compromise: </a:t>
              </a:r>
              <a:br>
                <a:rPr lang="en-US" sz="1350" b="1">
                  <a:gradFill>
                    <a:gsLst>
                      <a:gs pos="1250">
                        <a:srgbClr val="0078D4"/>
                      </a:gs>
                      <a:gs pos="100000">
                        <a:srgbClr val="0078D4"/>
                      </a:gs>
                    </a:gsLst>
                    <a:lin ang="5400000" scaled="0"/>
                  </a:gradFill>
                  <a:latin typeface="Segoe UI"/>
                </a:rPr>
              </a:br>
              <a:r>
                <a:rPr lang="en-US" sz="1350">
                  <a:gradFill>
                    <a:gsLst>
                      <a:gs pos="1250">
                        <a:srgbClr val="0078D4"/>
                      </a:gs>
                      <a:gs pos="100000">
                        <a:srgbClr val="0078D4"/>
                      </a:gs>
                    </a:gsLst>
                    <a:lin ang="5400000" scaled="0"/>
                  </a:gradFill>
                  <a:latin typeface="Segoe UI"/>
                </a:rPr>
                <a:t>Protect, detect, and respond along attack phases</a:t>
              </a:r>
            </a:p>
          </p:txBody>
        </p:sp>
        <p:grpSp>
          <p:nvGrpSpPr>
            <p:cNvPr id="150" name="Group 149"/>
            <p:cNvGrpSpPr/>
            <p:nvPr/>
          </p:nvGrpSpPr>
          <p:grpSpPr>
            <a:xfrm>
              <a:off x="9203004" y="5639758"/>
              <a:ext cx="376718" cy="672904"/>
              <a:chOff x="4753788" y="2614250"/>
              <a:chExt cx="527267" cy="941817"/>
            </a:xfrm>
          </p:grpSpPr>
          <p:pic>
            <p:nvPicPr>
              <p:cNvPr id="164" name="Picture 163"/>
              <p:cNvPicPr>
                <a:picLocks noChangeAspect="1"/>
              </p:cNvPicPr>
              <p:nvPr/>
            </p:nvPicPr>
            <p:blipFill>
              <a:blip r:embed="rId3" cstate="email">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4753788" y="3209569"/>
                <a:ext cx="518465" cy="346498"/>
              </a:xfrm>
              <a:prstGeom prst="rect">
                <a:avLst/>
              </a:prstGeom>
            </p:spPr>
          </p:pic>
          <p:pic>
            <p:nvPicPr>
              <p:cNvPr id="165" name="Picture 164"/>
              <p:cNvPicPr>
                <a:picLocks noChangeAspect="1"/>
              </p:cNvPicPr>
              <p:nvPr/>
            </p:nvPicPr>
            <p:blipFill>
              <a:blip r:embed="rId4"/>
              <a:stretch>
                <a:fillRect/>
              </a:stretch>
            </p:blipFill>
            <p:spPr>
              <a:xfrm>
                <a:off x="4760884" y="2614250"/>
                <a:ext cx="520171" cy="520171"/>
              </a:xfrm>
              <a:prstGeom prst="rect">
                <a:avLst/>
              </a:prstGeom>
            </p:spPr>
          </p:pic>
        </p:grpSp>
        <p:grpSp>
          <p:nvGrpSpPr>
            <p:cNvPr id="4" name="Group 3">
              <a:extLst>
                <a:ext uri="{FF2B5EF4-FFF2-40B4-BE49-F238E27FC236}">
                  <a16:creationId xmlns:a16="http://schemas.microsoft.com/office/drawing/2014/main" id="{EA366FC0-802E-4D6E-8980-77FDBCB7A364}"/>
                </a:ext>
              </a:extLst>
            </p:cNvPr>
            <p:cNvGrpSpPr/>
            <p:nvPr/>
          </p:nvGrpSpPr>
          <p:grpSpPr>
            <a:xfrm>
              <a:off x="6826167" y="5691606"/>
              <a:ext cx="624596" cy="639601"/>
              <a:chOff x="618069" y="4066208"/>
              <a:chExt cx="624596" cy="639601"/>
            </a:xfrm>
          </p:grpSpPr>
          <p:sp>
            <p:nvSpPr>
              <p:cNvPr id="196" name="Freeform 12">
                <a:extLst>
                  <a:ext uri="{FF2B5EF4-FFF2-40B4-BE49-F238E27FC236}">
                    <a16:creationId xmlns:a16="http://schemas.microsoft.com/office/drawing/2014/main" id="{E506CDDE-BAAF-4F49-B992-516259F00FA5}"/>
                  </a:ext>
                </a:extLst>
              </p:cNvPr>
              <p:cNvSpPr>
                <a:spLocks noEditPoints="1"/>
              </p:cNvSpPr>
              <p:nvPr/>
            </p:nvSpPr>
            <p:spPr bwMode="auto">
              <a:xfrm>
                <a:off x="618069" y="4066208"/>
                <a:ext cx="624596" cy="639601"/>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1A1A1A"/>
                  </a:solidFill>
                  <a:latin typeface="Segoe UI"/>
                  <a:ea typeface="+mn-ea"/>
                  <a:cs typeface="+mn-cs"/>
                </a:endParaRPr>
              </a:p>
            </p:txBody>
          </p:sp>
          <p:sp>
            <p:nvSpPr>
              <p:cNvPr id="198" name="Freeform: Shape 197">
                <a:extLst>
                  <a:ext uri="{FF2B5EF4-FFF2-40B4-BE49-F238E27FC236}">
                    <a16:creationId xmlns:a16="http://schemas.microsoft.com/office/drawing/2014/main" id="{F741D5F4-146D-4768-A0E6-95A57E9E11E8}"/>
                  </a:ext>
                </a:extLst>
              </p:cNvPr>
              <p:cNvSpPr/>
              <p:nvPr/>
            </p:nvSpPr>
            <p:spPr bwMode="auto">
              <a:xfrm>
                <a:off x="852693" y="4244965"/>
                <a:ext cx="159279" cy="52994"/>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3" name="Laptop_E770">
              <a:extLst>
                <a:ext uri="{FF2B5EF4-FFF2-40B4-BE49-F238E27FC236}">
                  <a16:creationId xmlns:a16="http://schemas.microsoft.com/office/drawing/2014/main" id="{39E93CBE-EAA3-4360-B90A-4A224B45611A}"/>
                </a:ext>
              </a:extLst>
            </p:cNvPr>
            <p:cNvSpPr>
              <a:spLocks noChangeAspect="1" noEditPoints="1"/>
            </p:cNvSpPr>
            <p:nvPr/>
          </p:nvSpPr>
          <p:spPr bwMode="auto">
            <a:xfrm>
              <a:off x="8581638" y="6154223"/>
              <a:ext cx="377034" cy="25158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675">
                <a:gradFill>
                  <a:gsLst>
                    <a:gs pos="0">
                      <a:srgbClr val="505050"/>
                    </a:gs>
                    <a:gs pos="100000">
                      <a:srgbClr val="505050"/>
                    </a:gs>
                  </a:gsLst>
                </a:gradFill>
                <a:latin typeface="Segoe UI"/>
                <a:ea typeface="+mn-ea"/>
                <a:cs typeface="+mn-cs"/>
              </a:endParaRPr>
            </a:p>
          </p:txBody>
        </p:sp>
        <p:sp>
          <p:nvSpPr>
            <p:cNvPr id="204" name="cloud">
              <a:extLst>
                <a:ext uri="{FF2B5EF4-FFF2-40B4-BE49-F238E27FC236}">
                  <a16:creationId xmlns:a16="http://schemas.microsoft.com/office/drawing/2014/main" id="{8DFC1D4D-06F7-409A-B333-6ACF7E8C3C56}"/>
                </a:ext>
              </a:extLst>
            </p:cNvPr>
            <p:cNvSpPr>
              <a:spLocks noChangeAspect="1"/>
            </p:cNvSpPr>
            <p:nvPr/>
          </p:nvSpPr>
          <p:spPr bwMode="auto">
            <a:xfrm>
              <a:off x="8276919" y="5610490"/>
              <a:ext cx="332175" cy="2116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sq">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05" name="mail">
              <a:extLst>
                <a:ext uri="{FF2B5EF4-FFF2-40B4-BE49-F238E27FC236}">
                  <a16:creationId xmlns:a16="http://schemas.microsoft.com/office/drawing/2014/main" id="{39A24FB8-8071-4F3F-AAF6-67DC03ADB166}"/>
                </a:ext>
              </a:extLst>
            </p:cNvPr>
            <p:cNvSpPr>
              <a:spLocks noChangeAspect="1" noEditPoints="1"/>
            </p:cNvSpPr>
            <p:nvPr/>
          </p:nvSpPr>
          <p:spPr bwMode="auto">
            <a:xfrm>
              <a:off x="7965163" y="6154223"/>
              <a:ext cx="339330" cy="20359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cxnSp>
          <p:nvCxnSpPr>
            <p:cNvPr id="6" name="Straight Connector 5">
              <a:extLst>
                <a:ext uri="{FF2B5EF4-FFF2-40B4-BE49-F238E27FC236}">
                  <a16:creationId xmlns:a16="http://schemas.microsoft.com/office/drawing/2014/main" id="{227DC6ED-449A-49B1-968C-D11F4FE013D9}"/>
                </a:ext>
              </a:extLst>
            </p:cNvPr>
            <p:cNvCxnSpPr>
              <a:cxnSpLocks/>
            </p:cNvCxnSpPr>
            <p:nvPr/>
          </p:nvCxnSpPr>
          <p:spPr>
            <a:xfrm flipV="1">
              <a:off x="7611640" y="5752028"/>
              <a:ext cx="578435" cy="130207"/>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320A260-5E5F-440F-8853-578C77E10A3B}"/>
                </a:ext>
              </a:extLst>
            </p:cNvPr>
            <p:cNvCxnSpPr>
              <a:cxnSpLocks/>
            </p:cNvCxnSpPr>
            <p:nvPr/>
          </p:nvCxnSpPr>
          <p:spPr>
            <a:xfrm>
              <a:off x="7593610" y="6170365"/>
              <a:ext cx="302668" cy="9196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3979456-0F3B-4751-B83E-4B45086B34B0}"/>
                </a:ext>
              </a:extLst>
            </p:cNvPr>
            <p:cNvCxnSpPr>
              <a:cxnSpLocks/>
            </p:cNvCxnSpPr>
            <p:nvPr/>
          </p:nvCxnSpPr>
          <p:spPr>
            <a:xfrm>
              <a:off x="8366835" y="6294738"/>
              <a:ext cx="198747" cy="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1D95F369-843B-49A4-85D6-5B540EFB63EE}"/>
                </a:ext>
              </a:extLst>
            </p:cNvPr>
            <p:cNvCxnSpPr>
              <a:cxnSpLocks/>
            </p:cNvCxnSpPr>
            <p:nvPr/>
          </p:nvCxnSpPr>
          <p:spPr>
            <a:xfrm>
              <a:off x="8695026" y="5734073"/>
              <a:ext cx="481202" cy="4445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38E87DF-67B5-429D-B106-C007121DD43F}"/>
                </a:ext>
              </a:extLst>
            </p:cNvPr>
            <p:cNvCxnSpPr>
              <a:cxnSpLocks/>
            </p:cNvCxnSpPr>
            <p:nvPr/>
          </p:nvCxnSpPr>
          <p:spPr>
            <a:xfrm flipV="1">
              <a:off x="8990482" y="6256022"/>
              <a:ext cx="160342" cy="23994"/>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8" name="CRMArticles_EFF5" title="Icon of two documents stacked together with writing on them">
              <a:extLst>
                <a:ext uri="{FF2B5EF4-FFF2-40B4-BE49-F238E27FC236}">
                  <a16:creationId xmlns:a16="http://schemas.microsoft.com/office/drawing/2014/main" id="{4CB74475-1C0E-46E5-8EBB-FA8FCA1B3B96}"/>
                </a:ext>
              </a:extLst>
            </p:cNvPr>
            <p:cNvSpPr>
              <a:spLocks noChangeAspect="1" noEditPoints="1"/>
            </p:cNvSpPr>
            <p:nvPr/>
          </p:nvSpPr>
          <p:spPr bwMode="auto">
            <a:xfrm>
              <a:off x="9906985" y="6153219"/>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675">
                <a:gradFill>
                  <a:gsLst>
                    <a:gs pos="0">
                      <a:srgbClr val="505050"/>
                    </a:gs>
                    <a:gs pos="100000">
                      <a:srgbClr val="505050"/>
                    </a:gs>
                  </a:gsLst>
                </a:gradFill>
                <a:latin typeface="Segoe UI"/>
                <a:ea typeface="+mn-ea"/>
                <a:cs typeface="+mn-cs"/>
              </a:endParaRPr>
            </a:p>
          </p:txBody>
        </p:sp>
        <p:grpSp>
          <p:nvGrpSpPr>
            <p:cNvPr id="231" name="Group 230">
              <a:extLst>
                <a:ext uri="{FF2B5EF4-FFF2-40B4-BE49-F238E27FC236}">
                  <a16:creationId xmlns:a16="http://schemas.microsoft.com/office/drawing/2014/main" id="{B583A499-3AC4-4099-97D9-276B02464B14}"/>
                </a:ext>
              </a:extLst>
            </p:cNvPr>
            <p:cNvGrpSpPr/>
            <p:nvPr/>
          </p:nvGrpSpPr>
          <p:grpSpPr>
            <a:xfrm>
              <a:off x="9899236" y="5586439"/>
              <a:ext cx="324554" cy="229402"/>
              <a:chOff x="6819802" y="2551203"/>
              <a:chExt cx="420400" cy="297147"/>
            </a:xfrm>
          </p:grpSpPr>
          <p:sp>
            <p:nvSpPr>
              <p:cNvPr id="232" name="Database_EFC7" title="Icon of a cylinder">
                <a:extLst>
                  <a:ext uri="{FF2B5EF4-FFF2-40B4-BE49-F238E27FC236}">
                    <a16:creationId xmlns:a16="http://schemas.microsoft.com/office/drawing/2014/main" id="{10FD5853-1C87-4745-B77A-6E966364FDEA}"/>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675">
                  <a:gradFill>
                    <a:gsLst>
                      <a:gs pos="0">
                        <a:srgbClr val="505050"/>
                      </a:gs>
                      <a:gs pos="100000">
                        <a:srgbClr val="505050"/>
                      </a:gs>
                    </a:gsLst>
                  </a:gradFill>
                  <a:latin typeface="Segoe UI"/>
                  <a:ea typeface="+mn-ea"/>
                  <a:cs typeface="+mn-cs"/>
                </a:endParaRPr>
              </a:p>
            </p:txBody>
          </p:sp>
          <p:sp>
            <p:nvSpPr>
              <p:cNvPr id="233" name="Database_EFC7" title="Icon of a cylinder">
                <a:extLst>
                  <a:ext uri="{FF2B5EF4-FFF2-40B4-BE49-F238E27FC236}">
                    <a16:creationId xmlns:a16="http://schemas.microsoft.com/office/drawing/2014/main" id="{2F2FE93D-555B-4121-9A59-9F1DEF00304E}"/>
                  </a:ext>
                </a:extLst>
              </p:cNvPr>
              <p:cNvSpPr>
                <a:spLocks noChangeAspect="1" noEditPoints="1"/>
              </p:cNvSpPr>
              <p:nvPr/>
            </p:nvSpPr>
            <p:spPr bwMode="auto">
              <a:xfrm>
                <a:off x="7116762"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675">
                  <a:gradFill>
                    <a:gsLst>
                      <a:gs pos="0">
                        <a:srgbClr val="505050"/>
                      </a:gs>
                      <a:gs pos="100000">
                        <a:srgbClr val="505050"/>
                      </a:gs>
                    </a:gsLst>
                  </a:gradFill>
                  <a:latin typeface="Segoe UI"/>
                  <a:ea typeface="+mn-ea"/>
                  <a:cs typeface="+mn-cs"/>
                </a:endParaRPr>
              </a:p>
            </p:txBody>
          </p:sp>
        </p:grpSp>
        <p:cxnSp>
          <p:nvCxnSpPr>
            <p:cNvPr id="234" name="Straight Connector 233">
              <a:extLst>
                <a:ext uri="{FF2B5EF4-FFF2-40B4-BE49-F238E27FC236}">
                  <a16:creationId xmlns:a16="http://schemas.microsoft.com/office/drawing/2014/main" id="{4F969161-DFE7-4DB7-B8CF-9BEC861C0454}"/>
                </a:ext>
              </a:extLst>
            </p:cNvPr>
            <p:cNvCxnSpPr>
              <a:cxnSpLocks/>
            </p:cNvCxnSpPr>
            <p:nvPr/>
          </p:nvCxnSpPr>
          <p:spPr>
            <a:xfrm flipV="1">
              <a:off x="9633901" y="5815841"/>
              <a:ext cx="212562" cy="12796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653C70-826F-4232-BC92-675FA75D0F08}"/>
                </a:ext>
              </a:extLst>
            </p:cNvPr>
            <p:cNvCxnSpPr>
              <a:cxnSpLocks/>
            </p:cNvCxnSpPr>
            <p:nvPr/>
          </p:nvCxnSpPr>
          <p:spPr>
            <a:xfrm>
              <a:off x="9651135" y="6102674"/>
              <a:ext cx="166630" cy="86206"/>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6" name="Isosceles Triangle 165"/>
          <p:cNvSpPr/>
          <p:nvPr/>
        </p:nvSpPr>
        <p:spPr bwMode="auto">
          <a:xfrm>
            <a:off x="6532129" y="4252286"/>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sp>
        <p:nvSpPr>
          <p:cNvPr id="167" name="Isosceles Triangle 166"/>
          <p:cNvSpPr/>
          <p:nvPr/>
        </p:nvSpPr>
        <p:spPr bwMode="auto">
          <a:xfrm>
            <a:off x="6762587" y="3844361"/>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sp>
        <p:nvSpPr>
          <p:cNvPr id="168" name="Isosceles Triangle 167"/>
          <p:cNvSpPr/>
          <p:nvPr/>
        </p:nvSpPr>
        <p:spPr bwMode="auto">
          <a:xfrm>
            <a:off x="7002682" y="4245870"/>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sp>
        <p:nvSpPr>
          <p:cNvPr id="169" name="Isosceles Triangle 168"/>
          <p:cNvSpPr/>
          <p:nvPr/>
        </p:nvSpPr>
        <p:spPr bwMode="auto">
          <a:xfrm>
            <a:off x="7920175" y="3834877"/>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sp>
        <p:nvSpPr>
          <p:cNvPr id="170" name="Isosceles Triangle 169"/>
          <p:cNvSpPr/>
          <p:nvPr/>
        </p:nvSpPr>
        <p:spPr bwMode="auto">
          <a:xfrm>
            <a:off x="7465328" y="3869779"/>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sp>
        <p:nvSpPr>
          <p:cNvPr id="171" name="Isosceles Triangle 170"/>
          <p:cNvSpPr/>
          <p:nvPr/>
        </p:nvSpPr>
        <p:spPr bwMode="auto">
          <a:xfrm>
            <a:off x="7923144" y="4244255"/>
            <a:ext cx="147396" cy="127169"/>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20574" rIns="34290" bIns="68580" numCol="1" spcCol="0" rtlCol="0" fromWordArt="0" anchor="ctr" anchorCtr="0" forceAA="0" compatLnSpc="1">
            <a:prstTxWarp prst="textNoShape">
              <a:avLst/>
            </a:prstTxWarp>
            <a:noAutofit/>
          </a:bodyPr>
          <a:lstStyle/>
          <a:p>
            <a:pPr algn="ctr" defTabSz="685574">
              <a:defRPr/>
            </a:pPr>
            <a:r>
              <a:rPr lang="en-US" sz="825" b="1" kern="0" spc="-38">
                <a:solidFill>
                  <a:sysClr val="windowText" lastClr="000000"/>
                </a:solidFill>
                <a:latin typeface="Segoe UI"/>
                <a:ea typeface="Segoe UI" pitchFamily="34" charset="0"/>
                <a:cs typeface="Segoe UI" pitchFamily="34" charset="0"/>
              </a:rPr>
              <a:t>!</a:t>
            </a:r>
          </a:p>
        </p:txBody>
      </p:sp>
      <p:grpSp>
        <p:nvGrpSpPr>
          <p:cNvPr id="176" name="Group 175"/>
          <p:cNvGrpSpPr/>
          <p:nvPr/>
        </p:nvGrpSpPr>
        <p:grpSpPr>
          <a:xfrm>
            <a:off x="7498264" y="3910993"/>
            <a:ext cx="93017" cy="93017"/>
            <a:chOff x="10233001" y="7647367"/>
            <a:chExt cx="574160" cy="574160"/>
          </a:xfrm>
        </p:grpSpPr>
        <p:sp>
          <p:nvSpPr>
            <p:cNvPr id="177" name="Oval 176"/>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Freeform 8"/>
            <p:cNvSpPr>
              <a:spLocks/>
            </p:cNvSpPr>
            <p:nvPr/>
          </p:nvSpPr>
          <p:spPr bwMode="auto">
            <a:xfrm>
              <a:off x="10314189" y="7784126"/>
              <a:ext cx="411785" cy="331456"/>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179" name="Group 178"/>
          <p:cNvGrpSpPr/>
          <p:nvPr/>
        </p:nvGrpSpPr>
        <p:grpSpPr>
          <a:xfrm>
            <a:off x="7942757" y="4284623"/>
            <a:ext cx="93017" cy="93017"/>
            <a:chOff x="10233001" y="7647367"/>
            <a:chExt cx="574160" cy="574160"/>
          </a:xfrm>
        </p:grpSpPr>
        <p:sp>
          <p:nvSpPr>
            <p:cNvPr id="180" name="Oval 179"/>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182" name="Group 181"/>
          <p:cNvGrpSpPr/>
          <p:nvPr/>
        </p:nvGrpSpPr>
        <p:grpSpPr>
          <a:xfrm>
            <a:off x="7939864" y="3857836"/>
            <a:ext cx="93017" cy="93017"/>
            <a:chOff x="10233001" y="7647367"/>
            <a:chExt cx="574160" cy="574160"/>
          </a:xfrm>
        </p:grpSpPr>
        <p:sp>
          <p:nvSpPr>
            <p:cNvPr id="183" name="Oval 182"/>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185" name="Group 184"/>
          <p:cNvGrpSpPr/>
          <p:nvPr/>
        </p:nvGrpSpPr>
        <p:grpSpPr>
          <a:xfrm>
            <a:off x="7032788" y="4271272"/>
            <a:ext cx="93017" cy="93017"/>
            <a:chOff x="10233001" y="7647367"/>
            <a:chExt cx="574160" cy="574160"/>
          </a:xfrm>
        </p:grpSpPr>
        <p:sp>
          <p:nvSpPr>
            <p:cNvPr id="186" name="Oval 185"/>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188" name="Group 187"/>
          <p:cNvGrpSpPr/>
          <p:nvPr/>
        </p:nvGrpSpPr>
        <p:grpSpPr>
          <a:xfrm>
            <a:off x="6788281" y="3880514"/>
            <a:ext cx="93017" cy="93017"/>
            <a:chOff x="10233001" y="7647367"/>
            <a:chExt cx="574160" cy="574160"/>
          </a:xfrm>
        </p:grpSpPr>
        <p:sp>
          <p:nvSpPr>
            <p:cNvPr id="189" name="Oval 188"/>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191" name="Group 190"/>
          <p:cNvGrpSpPr/>
          <p:nvPr/>
        </p:nvGrpSpPr>
        <p:grpSpPr>
          <a:xfrm>
            <a:off x="6560569" y="4284764"/>
            <a:ext cx="93017" cy="93017"/>
            <a:chOff x="10233001" y="7647367"/>
            <a:chExt cx="574160" cy="574160"/>
          </a:xfrm>
        </p:grpSpPr>
        <p:sp>
          <p:nvSpPr>
            <p:cNvPr id="192" name="Oval 191"/>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3197" name="Group 3196">
            <a:extLst>
              <a:ext uri="{FF2B5EF4-FFF2-40B4-BE49-F238E27FC236}">
                <a16:creationId xmlns:a16="http://schemas.microsoft.com/office/drawing/2014/main" id="{A97EA591-D8E1-4964-969F-8DEF58FDF234}"/>
              </a:ext>
            </a:extLst>
          </p:cNvPr>
          <p:cNvGrpSpPr/>
          <p:nvPr/>
        </p:nvGrpSpPr>
        <p:grpSpPr>
          <a:xfrm>
            <a:off x="5440650" y="1332606"/>
            <a:ext cx="2893857" cy="1626239"/>
            <a:chOff x="6586208" y="2023566"/>
            <a:chExt cx="3858476" cy="2168318"/>
          </a:xfrm>
        </p:grpSpPr>
        <p:sp>
          <p:nvSpPr>
            <p:cNvPr id="208" name="Text Placeholder 2">
              <a:extLst>
                <a:ext uri="{FF2B5EF4-FFF2-40B4-BE49-F238E27FC236}">
                  <a16:creationId xmlns:a16="http://schemas.microsoft.com/office/drawing/2014/main" id="{52EE121B-61BD-4CFC-BCA2-C777BB0FA832}"/>
                </a:ext>
              </a:extLst>
            </p:cNvPr>
            <p:cNvSpPr txBox="1">
              <a:spLocks/>
            </p:cNvSpPr>
            <p:nvPr/>
          </p:nvSpPr>
          <p:spPr>
            <a:xfrm>
              <a:off x="6586208"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endParaRPr lang="en-US" sz="1350">
                <a:gradFill>
                  <a:gsLst>
                    <a:gs pos="0">
                      <a:srgbClr val="1A1A1A"/>
                    </a:gs>
                    <a:gs pos="100000">
                      <a:srgbClr val="1A1A1A"/>
                    </a:gs>
                  </a:gsLst>
                  <a:lin ang="5400000" scaled="0"/>
                </a:gradFill>
                <a:latin typeface="Segoe UI"/>
              </a:endParaRPr>
            </a:p>
          </p:txBody>
        </p:sp>
        <p:sp>
          <p:nvSpPr>
            <p:cNvPr id="209" name="Text Placeholder 2">
              <a:extLst>
                <a:ext uri="{FF2B5EF4-FFF2-40B4-BE49-F238E27FC236}">
                  <a16:creationId xmlns:a16="http://schemas.microsoft.com/office/drawing/2014/main" id="{F4B1DF5A-D4AD-4D8B-9734-DC7CB926ED44}"/>
                </a:ext>
              </a:extLst>
            </p:cNvPr>
            <p:cNvSpPr txBox="1">
              <a:spLocks/>
            </p:cNvSpPr>
            <p:nvPr/>
          </p:nvSpPr>
          <p:spPr>
            <a:xfrm>
              <a:off x="6586208"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99354">
                <a:defRPr/>
              </a:pPr>
              <a:r>
                <a:rPr lang="en-US" sz="1350" b="1">
                  <a:gradFill>
                    <a:gsLst>
                      <a:gs pos="1250">
                        <a:srgbClr val="0078D4"/>
                      </a:gs>
                      <a:gs pos="100000">
                        <a:srgbClr val="0078D4"/>
                      </a:gs>
                    </a:gsLst>
                    <a:lin ang="5400000" scaled="0"/>
                  </a:gradFill>
                  <a:latin typeface="Segoe UI"/>
                </a:rPr>
                <a:t>Resilience: </a:t>
              </a:r>
              <a:br>
                <a:rPr lang="en-US" sz="1350" b="1">
                  <a:gradFill>
                    <a:gsLst>
                      <a:gs pos="1250">
                        <a:srgbClr val="0078D4"/>
                      </a:gs>
                      <a:gs pos="100000">
                        <a:srgbClr val="0078D4"/>
                      </a:gs>
                    </a:gsLst>
                    <a:lin ang="5400000" scaled="0"/>
                  </a:gradFill>
                  <a:latin typeface="Segoe UI"/>
                </a:rPr>
              </a:br>
              <a:r>
                <a:rPr lang="en-US" sz="1350">
                  <a:gradFill>
                    <a:gsLst>
                      <a:gs pos="1250">
                        <a:srgbClr val="0078D4"/>
                      </a:gs>
                      <a:gs pos="100000">
                        <a:srgbClr val="0078D4"/>
                      </a:gs>
                    </a:gsLst>
                    <a:lin ang="5400000" scaled="0"/>
                  </a:gradFill>
                  <a:latin typeface="Segoe UI"/>
                  <a:ea typeface="+mn-ea"/>
                </a:rPr>
                <a:t>Designed to recover quickly </a:t>
              </a:r>
            </a:p>
          </p:txBody>
        </p:sp>
        <p:sp>
          <p:nvSpPr>
            <p:cNvPr id="250" name="server">
              <a:extLst>
                <a:ext uri="{FF2B5EF4-FFF2-40B4-BE49-F238E27FC236}">
                  <a16:creationId xmlns:a16="http://schemas.microsoft.com/office/drawing/2014/main" id="{943EA9F6-D344-445B-A9CA-6C4F704A7C6E}"/>
                </a:ext>
              </a:extLst>
            </p:cNvPr>
            <p:cNvSpPr>
              <a:spLocks noChangeAspect="1" noEditPoints="1"/>
            </p:cNvSpPr>
            <p:nvPr/>
          </p:nvSpPr>
          <p:spPr bwMode="auto">
            <a:xfrm>
              <a:off x="8792695" y="2942233"/>
              <a:ext cx="225636" cy="4285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51" name="desktop">
              <a:extLst>
                <a:ext uri="{FF2B5EF4-FFF2-40B4-BE49-F238E27FC236}">
                  <a16:creationId xmlns:a16="http://schemas.microsoft.com/office/drawing/2014/main" id="{7A2E93E8-7AE3-4FF2-9FDC-E311D0836A64}"/>
                </a:ext>
              </a:extLst>
            </p:cNvPr>
            <p:cNvSpPr>
              <a:spLocks noChangeAspect="1" noEditPoints="1"/>
            </p:cNvSpPr>
            <p:nvPr/>
          </p:nvSpPr>
          <p:spPr bwMode="auto">
            <a:xfrm>
              <a:off x="7861344" y="2914007"/>
              <a:ext cx="443150" cy="43591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25400" cap="sq">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cxnSp>
          <p:nvCxnSpPr>
            <p:cNvPr id="254" name="Connector: Elbow 253">
              <a:extLst>
                <a:ext uri="{FF2B5EF4-FFF2-40B4-BE49-F238E27FC236}">
                  <a16:creationId xmlns:a16="http://schemas.microsoft.com/office/drawing/2014/main" id="{1B339DF6-B0DD-491F-B7AF-10BF7B4DA452}"/>
                </a:ext>
              </a:extLst>
            </p:cNvPr>
            <p:cNvCxnSpPr>
              <a:stCxn id="221" idx="11"/>
            </p:cNvCxnSpPr>
            <p:nvPr/>
          </p:nvCxnSpPr>
          <p:spPr>
            <a:xfrm flipV="1">
              <a:off x="7519338" y="3349922"/>
              <a:ext cx="342006" cy="173384"/>
            </a:xfrm>
            <a:prstGeom prst="bentConnector3">
              <a:avLst>
                <a:gd name="adj1" fmla="val -19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9" name="Connector: Elbow 3138">
              <a:extLst>
                <a:ext uri="{FF2B5EF4-FFF2-40B4-BE49-F238E27FC236}">
                  <a16:creationId xmlns:a16="http://schemas.microsoft.com/office/drawing/2014/main" id="{6AE1E5B0-B019-4956-B1F3-0CC9608701B7}"/>
                </a:ext>
              </a:extLst>
            </p:cNvPr>
            <p:cNvCxnSpPr>
              <a:cxnSpLocks/>
              <a:stCxn id="221" idx="11"/>
              <a:endCxn id="252" idx="2"/>
            </p:cNvCxnSpPr>
            <p:nvPr/>
          </p:nvCxnSpPr>
          <p:spPr>
            <a:xfrm>
              <a:off x="7519338" y="3523306"/>
              <a:ext cx="926161" cy="214802"/>
            </a:xfrm>
            <a:prstGeom prst="bentConnector3">
              <a:avLst>
                <a:gd name="adj1" fmla="val 114745"/>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41" name="Connector: Elbow 3140">
              <a:extLst>
                <a:ext uri="{FF2B5EF4-FFF2-40B4-BE49-F238E27FC236}">
                  <a16:creationId xmlns:a16="http://schemas.microsoft.com/office/drawing/2014/main" id="{01EEFC88-790E-4860-B239-CC22B079DE97}"/>
                </a:ext>
              </a:extLst>
            </p:cNvPr>
            <p:cNvCxnSpPr>
              <a:cxnSpLocks/>
              <a:stCxn id="221" idx="11"/>
            </p:cNvCxnSpPr>
            <p:nvPr/>
          </p:nvCxnSpPr>
          <p:spPr>
            <a:xfrm flipV="1">
              <a:off x="7519338" y="3373614"/>
              <a:ext cx="1247843" cy="149692"/>
            </a:xfrm>
            <a:prstGeom prst="bentConnector3">
              <a:avLst>
                <a:gd name="adj1" fmla="val 70259"/>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42D05441-F6B0-4525-AD6B-1E8D2207CE22}"/>
                </a:ext>
              </a:extLst>
            </p:cNvPr>
            <p:cNvCxnSpPr>
              <a:stCxn id="221" idx="11"/>
              <a:endCxn id="256" idx="2"/>
            </p:cNvCxnSpPr>
            <p:nvPr/>
          </p:nvCxnSpPr>
          <p:spPr>
            <a:xfrm flipV="1">
              <a:off x="7519338" y="3500954"/>
              <a:ext cx="1848423" cy="22352"/>
            </a:xfrm>
            <a:prstGeom prst="bentConnector3">
              <a:avLst>
                <a:gd name="adj1" fmla="val 99763"/>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cloud">
              <a:extLst>
                <a:ext uri="{FF2B5EF4-FFF2-40B4-BE49-F238E27FC236}">
                  <a16:creationId xmlns:a16="http://schemas.microsoft.com/office/drawing/2014/main" id="{44A3613C-CCFA-41E9-B85F-D5B2A683FCA1}"/>
                </a:ext>
              </a:extLst>
            </p:cNvPr>
            <p:cNvSpPr>
              <a:spLocks noChangeAspect="1"/>
            </p:cNvSpPr>
            <p:nvPr/>
          </p:nvSpPr>
          <p:spPr bwMode="auto">
            <a:xfrm>
              <a:off x="6920802" y="3257959"/>
              <a:ext cx="598536" cy="38132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1750" cap="sq">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52" name="Laptop_E770">
              <a:extLst>
                <a:ext uri="{FF2B5EF4-FFF2-40B4-BE49-F238E27FC236}">
                  <a16:creationId xmlns:a16="http://schemas.microsoft.com/office/drawing/2014/main" id="{280C5C73-D71C-4422-9BB1-23ECFC506AF6}"/>
                </a:ext>
              </a:extLst>
            </p:cNvPr>
            <p:cNvSpPr>
              <a:spLocks noChangeAspect="1" noEditPoints="1"/>
            </p:cNvSpPr>
            <p:nvPr/>
          </p:nvSpPr>
          <p:spPr bwMode="auto">
            <a:xfrm>
              <a:off x="8386010" y="3738108"/>
              <a:ext cx="446168" cy="2977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25400" cap="sq">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sp>
          <p:nvSpPr>
            <p:cNvPr id="256" name="Tablet_E70A">
              <a:extLst>
                <a:ext uri="{FF2B5EF4-FFF2-40B4-BE49-F238E27FC236}">
                  <a16:creationId xmlns:a16="http://schemas.microsoft.com/office/drawing/2014/main" id="{5841847D-84DF-4ACC-B8A8-90F7A6B537B4}"/>
                </a:ext>
              </a:extLst>
            </p:cNvPr>
            <p:cNvSpPr>
              <a:spLocks noChangeAspect="1" noEditPoints="1"/>
            </p:cNvSpPr>
            <p:nvPr/>
          </p:nvSpPr>
          <p:spPr bwMode="auto">
            <a:xfrm>
              <a:off x="9347231" y="3198889"/>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gradFill>
                  <a:gsLst>
                    <a:gs pos="0">
                      <a:srgbClr val="505050"/>
                    </a:gs>
                    <a:gs pos="100000">
                      <a:srgbClr val="505050"/>
                    </a:gs>
                  </a:gsLst>
                </a:gradFill>
                <a:latin typeface="Segoe UI"/>
                <a:ea typeface="+mn-ea"/>
                <a:cs typeface="+mn-cs"/>
              </a:endParaRPr>
            </a:p>
          </p:txBody>
        </p:sp>
      </p:grpSp>
      <p:grpSp>
        <p:nvGrpSpPr>
          <p:cNvPr id="3194" name="Group 3193">
            <a:extLst>
              <a:ext uri="{FF2B5EF4-FFF2-40B4-BE49-F238E27FC236}">
                <a16:creationId xmlns:a16="http://schemas.microsoft.com/office/drawing/2014/main" id="{9F49B2E9-F01C-4116-A32B-4451B31C36A7}"/>
              </a:ext>
            </a:extLst>
          </p:cNvPr>
          <p:cNvGrpSpPr/>
          <p:nvPr/>
        </p:nvGrpSpPr>
        <p:grpSpPr>
          <a:xfrm>
            <a:off x="6196201" y="2280258"/>
            <a:ext cx="93017" cy="93017"/>
            <a:chOff x="8535450" y="5573176"/>
            <a:chExt cx="124022" cy="124023"/>
          </a:xfrm>
        </p:grpSpPr>
        <p:sp>
          <p:nvSpPr>
            <p:cNvPr id="257" name="Oval 256">
              <a:extLst>
                <a:ext uri="{FF2B5EF4-FFF2-40B4-BE49-F238E27FC236}">
                  <a16:creationId xmlns:a16="http://schemas.microsoft.com/office/drawing/2014/main" id="{AB2433D1-CA4D-47E9-B6E1-7A54505D9D29}"/>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Freeform 8">
              <a:extLst>
                <a:ext uri="{FF2B5EF4-FFF2-40B4-BE49-F238E27FC236}">
                  <a16:creationId xmlns:a16="http://schemas.microsoft.com/office/drawing/2014/main" id="{5F0CD4E3-08F3-4E49-8E79-FE9D3D1EAD8A}"/>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259" name="Group 258">
            <a:extLst>
              <a:ext uri="{FF2B5EF4-FFF2-40B4-BE49-F238E27FC236}">
                <a16:creationId xmlns:a16="http://schemas.microsoft.com/office/drawing/2014/main" id="{E22BCCD1-A202-443F-8110-D8DC4325F846}"/>
              </a:ext>
            </a:extLst>
          </p:cNvPr>
          <p:cNvGrpSpPr/>
          <p:nvPr/>
        </p:nvGrpSpPr>
        <p:grpSpPr>
          <a:xfrm>
            <a:off x="6878672" y="2302414"/>
            <a:ext cx="93017" cy="93017"/>
            <a:chOff x="8535450" y="5573176"/>
            <a:chExt cx="124022" cy="124023"/>
          </a:xfrm>
        </p:grpSpPr>
        <p:sp>
          <p:nvSpPr>
            <p:cNvPr id="260" name="Oval 259">
              <a:extLst>
                <a:ext uri="{FF2B5EF4-FFF2-40B4-BE49-F238E27FC236}">
                  <a16:creationId xmlns:a16="http://schemas.microsoft.com/office/drawing/2014/main" id="{E0B23148-A34A-4F01-A864-34D3392BEFCA}"/>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1" name="Freeform 8">
              <a:extLst>
                <a:ext uri="{FF2B5EF4-FFF2-40B4-BE49-F238E27FC236}">
                  <a16:creationId xmlns:a16="http://schemas.microsoft.com/office/drawing/2014/main" id="{22804093-02F4-4AD2-A8F6-BA7769F50758}"/>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262" name="Group 261">
            <a:extLst>
              <a:ext uri="{FF2B5EF4-FFF2-40B4-BE49-F238E27FC236}">
                <a16:creationId xmlns:a16="http://schemas.microsoft.com/office/drawing/2014/main" id="{6DD39FFE-D6EE-48BF-9463-41EA327C5205}"/>
              </a:ext>
            </a:extLst>
          </p:cNvPr>
          <p:cNvGrpSpPr/>
          <p:nvPr/>
        </p:nvGrpSpPr>
        <p:grpSpPr>
          <a:xfrm>
            <a:off x="7317604" y="2410903"/>
            <a:ext cx="93017" cy="93017"/>
            <a:chOff x="8535450" y="5573176"/>
            <a:chExt cx="124022" cy="124023"/>
          </a:xfrm>
        </p:grpSpPr>
        <p:sp>
          <p:nvSpPr>
            <p:cNvPr id="263" name="Oval 262">
              <a:extLst>
                <a:ext uri="{FF2B5EF4-FFF2-40B4-BE49-F238E27FC236}">
                  <a16:creationId xmlns:a16="http://schemas.microsoft.com/office/drawing/2014/main" id="{5066D1D8-E7AA-4550-B27B-A5593EED2943}"/>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 name="Freeform 8">
              <a:extLst>
                <a:ext uri="{FF2B5EF4-FFF2-40B4-BE49-F238E27FC236}">
                  <a16:creationId xmlns:a16="http://schemas.microsoft.com/office/drawing/2014/main" id="{733F4F8A-9A84-4580-AC9D-90285B2CA899}"/>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grpSp>
        <p:nvGrpSpPr>
          <p:cNvPr id="265" name="Group 264">
            <a:extLst>
              <a:ext uri="{FF2B5EF4-FFF2-40B4-BE49-F238E27FC236}">
                <a16:creationId xmlns:a16="http://schemas.microsoft.com/office/drawing/2014/main" id="{EE9611E5-DD5E-4890-9F21-60B29FAF1889}"/>
              </a:ext>
            </a:extLst>
          </p:cNvPr>
          <p:cNvGrpSpPr/>
          <p:nvPr/>
        </p:nvGrpSpPr>
        <p:grpSpPr>
          <a:xfrm>
            <a:off x="6887578" y="2479645"/>
            <a:ext cx="93017" cy="93017"/>
            <a:chOff x="8535450" y="5573176"/>
            <a:chExt cx="124022" cy="124023"/>
          </a:xfrm>
        </p:grpSpPr>
        <p:sp>
          <p:nvSpPr>
            <p:cNvPr id="266" name="Oval 265">
              <a:extLst>
                <a:ext uri="{FF2B5EF4-FFF2-40B4-BE49-F238E27FC236}">
                  <a16:creationId xmlns:a16="http://schemas.microsoft.com/office/drawing/2014/main" id="{21AD60F9-1878-451E-8E31-29155FD49180}"/>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a:defRPr/>
              </a:pPr>
              <a:endParaRPr lang="en-US" sz="1350" kern="0" spc="-3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7" name="Freeform 8">
              <a:extLst>
                <a:ext uri="{FF2B5EF4-FFF2-40B4-BE49-F238E27FC236}">
                  <a16:creationId xmlns:a16="http://schemas.microsoft.com/office/drawing/2014/main" id="{0C753441-D588-42EC-B212-8E3EB708E596}"/>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kern="0">
                <a:solidFill>
                  <a:srgbClr val="3F3F3F"/>
                </a:solidFill>
                <a:latin typeface="Segoe UI"/>
                <a:ea typeface="+mn-ea"/>
                <a:cs typeface="+mn-cs"/>
              </a:endParaRPr>
            </a:p>
          </p:txBody>
        </p:sp>
      </p:grpSp>
    </p:spTree>
    <p:extLst>
      <p:ext uri="{BB962C8B-B14F-4D97-AF65-F5344CB8AC3E}">
        <p14:creationId xmlns:p14="http://schemas.microsoft.com/office/powerpoint/2010/main" val="707066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6"/>
                                        </p:tgtEl>
                                        <p:attrNameLst>
                                          <p:attrName>style.visibility</p:attrName>
                                        </p:attrNameLst>
                                      </p:cBhvr>
                                      <p:to>
                                        <p:strVal val="visible"/>
                                      </p:to>
                                    </p:set>
                                    <p:animEffect transition="in" filter="wipe(left)">
                                      <p:cBhvr>
                                        <p:cTn id="11" dur="500"/>
                                        <p:tgtEl>
                                          <p:spTgt spid="2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97"/>
                                        </p:tgtEl>
                                        <p:attrNameLst>
                                          <p:attrName>style.visibility</p:attrName>
                                        </p:attrNameLst>
                                      </p:cBhvr>
                                      <p:to>
                                        <p:strVal val="visible"/>
                                      </p:to>
                                    </p:set>
                                    <p:animEffect transition="in" filter="fade">
                                      <p:cBhvr>
                                        <p:cTn id="15" dur="500"/>
                                        <p:tgtEl>
                                          <p:spTgt spid="319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94"/>
                                        </p:tgtEl>
                                        <p:attrNameLst>
                                          <p:attrName>style.visibility</p:attrName>
                                        </p:attrNameLst>
                                      </p:cBhvr>
                                      <p:to>
                                        <p:strVal val="visible"/>
                                      </p:to>
                                    </p:set>
                                    <p:animEffect transition="in" filter="fade">
                                      <p:cBhvr>
                                        <p:cTn id="19" dur="250"/>
                                        <p:tgtEl>
                                          <p:spTgt spid="3194"/>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fade">
                                      <p:cBhvr>
                                        <p:cTn id="23" dur="250"/>
                                        <p:tgtEl>
                                          <p:spTgt spid="259"/>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65"/>
                                        </p:tgtEl>
                                        <p:attrNameLst>
                                          <p:attrName>style.visibility</p:attrName>
                                        </p:attrNameLst>
                                      </p:cBhvr>
                                      <p:to>
                                        <p:strVal val="visible"/>
                                      </p:to>
                                    </p:set>
                                    <p:animEffect transition="in" filter="fade">
                                      <p:cBhvr>
                                        <p:cTn id="27" dur="250"/>
                                        <p:tgtEl>
                                          <p:spTgt spid="265"/>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250"/>
                                        <p:tgtEl>
                                          <p:spTgt spid="26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7"/>
                                        </p:tgtEl>
                                        <p:attrNameLst>
                                          <p:attrName>style.visibility</p:attrName>
                                        </p:attrNameLst>
                                      </p:cBhvr>
                                      <p:to>
                                        <p:strVal val="visible"/>
                                      </p:to>
                                    </p:set>
                                    <p:animEffect transition="in" filter="fade">
                                      <p:cBhvr>
                                        <p:cTn id="36" dur="500"/>
                                        <p:tgtEl>
                                          <p:spTgt spid="247"/>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wipe(left)">
                                      <p:cBhvr>
                                        <p:cTn id="40" dur="500"/>
                                        <p:tgtEl>
                                          <p:spTgt spid="26"/>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249"/>
                                        </p:tgtEl>
                                        <p:attrNameLst>
                                          <p:attrName>style.visibility</p:attrName>
                                        </p:attrNameLst>
                                      </p:cBhvr>
                                      <p:to>
                                        <p:strVal val="visible"/>
                                      </p:to>
                                    </p:set>
                                    <p:animEffect transition="in" filter="fade">
                                      <p:cBhvr>
                                        <p:cTn id="44" dur="500"/>
                                        <p:tgtEl>
                                          <p:spTgt spid="249"/>
                                        </p:tgtEl>
                                      </p:cBhvr>
                                    </p:animEffect>
                                  </p:childTnLst>
                                </p:cTn>
                              </p:par>
                            </p:childTnLst>
                          </p:cTn>
                        </p:par>
                        <p:par>
                          <p:cTn id="45" fill="hold">
                            <p:stCondLst>
                              <p:cond delay="1500"/>
                            </p:stCondLst>
                            <p:childTnLst>
                              <p:par>
                                <p:cTn id="46" presetID="10" presetClass="entr" presetSubtype="0" fill="hold" grpId="0" nodeType="afterEffect">
                                  <p:stCondLst>
                                    <p:cond delay="0"/>
                                  </p:stCondLst>
                                  <p:childTnLst>
                                    <p:set>
                                      <p:cBhvr>
                                        <p:cTn id="47" dur="1" fill="hold">
                                          <p:stCondLst>
                                            <p:cond delay="0"/>
                                          </p:stCondLst>
                                        </p:cTn>
                                        <p:tgtEl>
                                          <p:spTgt spid="166"/>
                                        </p:tgtEl>
                                        <p:attrNameLst>
                                          <p:attrName>style.visibility</p:attrName>
                                        </p:attrNameLst>
                                      </p:cBhvr>
                                      <p:to>
                                        <p:strVal val="visible"/>
                                      </p:to>
                                    </p:set>
                                    <p:animEffect transition="in" filter="fade">
                                      <p:cBhvr>
                                        <p:cTn id="48" dur="250"/>
                                        <p:tgtEl>
                                          <p:spTgt spid="166"/>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8"/>
                                        </p:tgtEl>
                                        <p:attrNameLst>
                                          <p:attrName>style.visibility</p:attrName>
                                        </p:attrNameLst>
                                      </p:cBhvr>
                                      <p:to>
                                        <p:strVal val="visible"/>
                                      </p:to>
                                    </p:set>
                                    <p:animEffect transition="in" filter="fade">
                                      <p:cBhvr>
                                        <p:cTn id="51" dur="250"/>
                                        <p:tgtEl>
                                          <p:spTgt spid="168"/>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67"/>
                                        </p:tgtEl>
                                        <p:attrNameLst>
                                          <p:attrName>style.visibility</p:attrName>
                                        </p:attrNameLst>
                                      </p:cBhvr>
                                      <p:to>
                                        <p:strVal val="visible"/>
                                      </p:to>
                                    </p:set>
                                    <p:animEffect transition="in" filter="fade">
                                      <p:cBhvr>
                                        <p:cTn id="54" dur="250"/>
                                        <p:tgtEl>
                                          <p:spTgt spid="167"/>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250"/>
                                        <p:tgtEl>
                                          <p:spTgt spid="169"/>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171"/>
                                        </p:tgtEl>
                                        <p:attrNameLst>
                                          <p:attrName>style.visibility</p:attrName>
                                        </p:attrNameLst>
                                      </p:cBhvr>
                                      <p:to>
                                        <p:strVal val="visible"/>
                                      </p:to>
                                    </p:set>
                                    <p:animEffect transition="in" filter="fade">
                                      <p:cBhvr>
                                        <p:cTn id="60" dur="250"/>
                                        <p:tgtEl>
                                          <p:spTgt spid="171"/>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170"/>
                                        </p:tgtEl>
                                        <p:attrNameLst>
                                          <p:attrName>style.visibility</p:attrName>
                                        </p:attrNameLst>
                                      </p:cBhvr>
                                      <p:to>
                                        <p:strVal val="visible"/>
                                      </p:to>
                                    </p:set>
                                    <p:animEffect transition="in" filter="fade">
                                      <p:cBhvr>
                                        <p:cTn id="63" dur="250"/>
                                        <p:tgtEl>
                                          <p:spTgt spid="170"/>
                                        </p:tgtEl>
                                      </p:cBhvr>
                                    </p:animEffect>
                                  </p:childTnLst>
                                </p:cTn>
                              </p:par>
                              <p:par>
                                <p:cTn id="64" presetID="10" presetClass="entr" presetSubtype="0" fill="hold" nodeType="withEffect">
                                  <p:stCondLst>
                                    <p:cond delay="1500"/>
                                  </p:stCondLst>
                                  <p:childTnLst>
                                    <p:set>
                                      <p:cBhvr>
                                        <p:cTn id="65" dur="1" fill="hold">
                                          <p:stCondLst>
                                            <p:cond delay="0"/>
                                          </p:stCondLst>
                                        </p:cTn>
                                        <p:tgtEl>
                                          <p:spTgt spid="176"/>
                                        </p:tgtEl>
                                        <p:attrNameLst>
                                          <p:attrName>style.visibility</p:attrName>
                                        </p:attrNameLst>
                                      </p:cBhvr>
                                      <p:to>
                                        <p:strVal val="visible"/>
                                      </p:to>
                                    </p:set>
                                    <p:animEffect transition="in" filter="fade">
                                      <p:cBhvr>
                                        <p:cTn id="66" dur="250"/>
                                        <p:tgtEl>
                                          <p:spTgt spid="176"/>
                                        </p:tgtEl>
                                      </p:cBhvr>
                                    </p:animEffect>
                                  </p:childTnLst>
                                </p:cTn>
                              </p:par>
                              <p:par>
                                <p:cTn id="67" presetID="10" presetClass="entr" presetSubtype="0" fill="hold" nodeType="withEffect">
                                  <p:stCondLst>
                                    <p:cond delay="175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250"/>
                                        <p:tgtEl>
                                          <p:spTgt spid="179"/>
                                        </p:tgtEl>
                                      </p:cBhvr>
                                    </p:animEffect>
                                  </p:childTnLst>
                                </p:cTn>
                              </p:par>
                              <p:par>
                                <p:cTn id="70" presetID="10" presetClass="entr" presetSubtype="0" fill="hold" nodeType="withEffect">
                                  <p:stCondLst>
                                    <p:cond delay="2000"/>
                                  </p:stCondLst>
                                  <p:childTnLst>
                                    <p:set>
                                      <p:cBhvr>
                                        <p:cTn id="71" dur="1" fill="hold">
                                          <p:stCondLst>
                                            <p:cond delay="0"/>
                                          </p:stCondLst>
                                        </p:cTn>
                                        <p:tgtEl>
                                          <p:spTgt spid="182"/>
                                        </p:tgtEl>
                                        <p:attrNameLst>
                                          <p:attrName>style.visibility</p:attrName>
                                        </p:attrNameLst>
                                      </p:cBhvr>
                                      <p:to>
                                        <p:strVal val="visible"/>
                                      </p:to>
                                    </p:set>
                                    <p:animEffect transition="in" filter="fade">
                                      <p:cBhvr>
                                        <p:cTn id="72" dur="250"/>
                                        <p:tgtEl>
                                          <p:spTgt spid="182"/>
                                        </p:tgtEl>
                                      </p:cBhvr>
                                    </p:animEffect>
                                  </p:childTnLst>
                                </p:cTn>
                              </p:par>
                              <p:par>
                                <p:cTn id="73" presetID="10" presetClass="entr" presetSubtype="0" fill="hold" nodeType="withEffect">
                                  <p:stCondLst>
                                    <p:cond delay="2250"/>
                                  </p:stCondLst>
                                  <p:childTnLst>
                                    <p:set>
                                      <p:cBhvr>
                                        <p:cTn id="74" dur="1" fill="hold">
                                          <p:stCondLst>
                                            <p:cond delay="0"/>
                                          </p:stCondLst>
                                        </p:cTn>
                                        <p:tgtEl>
                                          <p:spTgt spid="185"/>
                                        </p:tgtEl>
                                        <p:attrNameLst>
                                          <p:attrName>style.visibility</p:attrName>
                                        </p:attrNameLst>
                                      </p:cBhvr>
                                      <p:to>
                                        <p:strVal val="visible"/>
                                      </p:to>
                                    </p:set>
                                    <p:animEffect transition="in" filter="fade">
                                      <p:cBhvr>
                                        <p:cTn id="75" dur="250"/>
                                        <p:tgtEl>
                                          <p:spTgt spid="185"/>
                                        </p:tgtEl>
                                      </p:cBhvr>
                                    </p:animEffect>
                                  </p:childTnLst>
                                </p:cTn>
                              </p:par>
                              <p:par>
                                <p:cTn id="76" presetID="10" presetClass="entr" presetSubtype="0" fill="hold" nodeType="withEffect">
                                  <p:stCondLst>
                                    <p:cond delay="2500"/>
                                  </p:stCondLst>
                                  <p:childTnLst>
                                    <p:set>
                                      <p:cBhvr>
                                        <p:cTn id="77" dur="1" fill="hold">
                                          <p:stCondLst>
                                            <p:cond delay="0"/>
                                          </p:stCondLst>
                                        </p:cTn>
                                        <p:tgtEl>
                                          <p:spTgt spid="188"/>
                                        </p:tgtEl>
                                        <p:attrNameLst>
                                          <p:attrName>style.visibility</p:attrName>
                                        </p:attrNameLst>
                                      </p:cBhvr>
                                      <p:to>
                                        <p:strVal val="visible"/>
                                      </p:to>
                                    </p:set>
                                    <p:animEffect transition="in" filter="fade">
                                      <p:cBhvr>
                                        <p:cTn id="78" dur="250"/>
                                        <p:tgtEl>
                                          <p:spTgt spid="188"/>
                                        </p:tgtEl>
                                      </p:cBhvr>
                                    </p:animEffect>
                                  </p:childTnLst>
                                </p:cTn>
                              </p:par>
                              <p:par>
                                <p:cTn id="79" presetID="10" presetClass="entr" presetSubtype="0" fill="hold" nodeType="withEffect">
                                  <p:stCondLst>
                                    <p:cond delay="2750"/>
                                  </p:stCondLst>
                                  <p:childTnLst>
                                    <p:set>
                                      <p:cBhvr>
                                        <p:cTn id="80" dur="1" fill="hold">
                                          <p:stCondLst>
                                            <p:cond delay="0"/>
                                          </p:stCondLst>
                                        </p:cTn>
                                        <p:tgtEl>
                                          <p:spTgt spid="191"/>
                                        </p:tgtEl>
                                        <p:attrNameLst>
                                          <p:attrName>style.visibility</p:attrName>
                                        </p:attrNameLst>
                                      </p:cBhvr>
                                      <p:to>
                                        <p:strVal val="visible"/>
                                      </p:to>
                                    </p:set>
                                    <p:animEffect transition="in" filter="fade">
                                      <p:cBhvr>
                                        <p:cTn id="81" dur="25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16" grpId="0" animBg="1"/>
      <p:bldP spid="166" grpId="0" animBg="1"/>
      <p:bldP spid="167" grpId="0" animBg="1"/>
      <p:bldP spid="168" grpId="0" animBg="1"/>
      <p:bldP spid="169" grpId="0" animBg="1"/>
      <p:bldP spid="170" grpId="0" animBg="1"/>
      <p:bldP spid="17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flat screen television in a dark room&#10;&#10;Description automatically generated">
            <a:extLst>
              <a:ext uri="{FF2B5EF4-FFF2-40B4-BE49-F238E27FC236}">
                <a16:creationId xmlns:a16="http://schemas.microsoft.com/office/drawing/2014/main" id="{424387C2-4D9A-4513-B756-4340606C2859}"/>
              </a:ext>
            </a:extLst>
          </p:cNvPr>
          <p:cNvPicPr>
            <a:picLocks noChangeAspect="1"/>
          </p:cNvPicPr>
          <p:nvPr/>
        </p:nvPicPr>
        <p:blipFill>
          <a:blip r:embed="rId2"/>
          <a:stretch>
            <a:fillRect/>
          </a:stretch>
        </p:blipFill>
        <p:spPr>
          <a:xfrm>
            <a:off x="269027" y="1210492"/>
            <a:ext cx="4485967" cy="33644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descr="A picture containing indoor, wall, table, ceiling&#10;&#10;Description automatically generated">
            <a:extLst>
              <a:ext uri="{FF2B5EF4-FFF2-40B4-BE49-F238E27FC236}">
                <a16:creationId xmlns:a16="http://schemas.microsoft.com/office/drawing/2014/main" id="{09F4921B-5A66-436E-94C5-1334BC69D0F3}"/>
              </a:ext>
            </a:extLst>
          </p:cNvPr>
          <p:cNvPicPr>
            <a:picLocks noChangeAspect="1"/>
          </p:cNvPicPr>
          <p:nvPr/>
        </p:nvPicPr>
        <p:blipFill>
          <a:blip r:embed="rId3"/>
          <a:stretch>
            <a:fillRect/>
          </a:stretch>
        </p:blipFill>
        <p:spPr>
          <a:xfrm>
            <a:off x="5791255" y="1034640"/>
            <a:ext cx="2787133" cy="37161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Text Placeholder 3">
            <a:extLst>
              <a:ext uri="{FF2B5EF4-FFF2-40B4-BE49-F238E27FC236}">
                <a16:creationId xmlns:a16="http://schemas.microsoft.com/office/drawing/2014/main" id="{F9A742C0-9FD5-43B0-8305-9D73167191DE}"/>
              </a:ext>
            </a:extLst>
          </p:cNvPr>
          <p:cNvSpPr txBox="1">
            <a:spLocks/>
          </p:cNvSpPr>
          <p:nvPr/>
        </p:nvSpPr>
        <p:spPr>
          <a:xfrm>
            <a:off x="57737" y="335483"/>
            <a:ext cx="8699918" cy="466099"/>
          </a:xfrm>
          <a:prstGeom prst="rect">
            <a:avLst/>
          </a:prstGeom>
        </p:spPr>
        <p:txBody>
          <a:bodyPr/>
          <a:lstStyle>
            <a:lvl1pPr marL="0" indent="0" algn="l" defTabSz="1219170" rtl="0" eaLnBrk="1" latinLnBrk="0" hangingPunct="1">
              <a:lnSpc>
                <a:spcPct val="114000"/>
              </a:lnSpc>
              <a:spcBef>
                <a:spcPts val="800"/>
              </a:spcBef>
              <a:spcAft>
                <a:spcPts val="133"/>
              </a:spcAft>
              <a:buFont typeface="Arial" pitchFamily="34" charset="0"/>
              <a:buNone/>
              <a:defRPr sz="2133" kern="1200">
                <a:solidFill>
                  <a:schemeClr val="tx1"/>
                </a:solidFill>
                <a:latin typeface="+mn-lt"/>
                <a:ea typeface="+mn-ea"/>
                <a:cs typeface="+mn-cs"/>
              </a:defRPr>
            </a:lvl1pPr>
            <a:lvl2pPr marL="357708" indent="-237061" algn="l" defTabSz="1219170" rtl="0" eaLnBrk="1" latinLnBrk="0" hangingPunct="1">
              <a:lnSpc>
                <a:spcPct val="114000"/>
              </a:lnSpc>
              <a:spcBef>
                <a:spcPts val="267"/>
              </a:spcBef>
              <a:spcAft>
                <a:spcPts val="533"/>
              </a:spcAft>
              <a:buFont typeface="Arial" pitchFamily="34" charset="0"/>
              <a:buChar char="•"/>
              <a:defRPr sz="2133" kern="1200">
                <a:solidFill>
                  <a:schemeClr val="tx1"/>
                </a:solidFill>
                <a:latin typeface="+mn-lt"/>
                <a:ea typeface="+mn-ea"/>
                <a:cs typeface="+mn-cs"/>
              </a:defRPr>
            </a:lvl2pPr>
            <a:lvl3pPr marL="713300" indent="-251878" algn="l" defTabSz="1219170" rtl="0" eaLnBrk="1" latinLnBrk="0" hangingPunct="1">
              <a:lnSpc>
                <a:spcPct val="114000"/>
              </a:lnSpc>
              <a:spcBef>
                <a:spcPts val="133"/>
              </a:spcBef>
              <a:spcAft>
                <a:spcPts val="267"/>
              </a:spcAft>
              <a:buFont typeface="Arial" pitchFamily="34" charset="0"/>
              <a:buChar char="›"/>
              <a:defRPr sz="2133" kern="1200">
                <a:solidFill>
                  <a:schemeClr val="tx1"/>
                </a:solidFill>
                <a:latin typeface="+mn-lt"/>
                <a:ea typeface="+mn-ea"/>
                <a:cs typeface="+mn-cs"/>
              </a:defRPr>
            </a:lvl3pPr>
            <a:lvl4pPr marL="1447764" indent="-304792" algn="l" defTabSz="1219170" rtl="0" eaLnBrk="1" latinLnBrk="0" hangingPunct="1">
              <a:lnSpc>
                <a:spcPct val="114000"/>
              </a:lnSpc>
              <a:spcBef>
                <a:spcPts val="133"/>
              </a:spcBef>
              <a:spcAft>
                <a:spcPts val="533"/>
              </a:spcAft>
              <a:buFont typeface="Arial" pitchFamily="34" charset="0"/>
              <a:buChar char="»"/>
              <a:defRPr sz="2133" kern="1200">
                <a:solidFill>
                  <a:schemeClr val="tx1"/>
                </a:solidFill>
                <a:latin typeface="+mn-lt"/>
                <a:ea typeface="+mn-ea"/>
                <a:cs typeface="+mn-cs"/>
              </a:defRPr>
            </a:lvl4pPr>
            <a:lvl5pPr marL="1924003" indent="-230712" algn="l" defTabSz="1219170" rtl="0" eaLnBrk="1" latinLnBrk="0" hangingPunct="1">
              <a:lnSpc>
                <a:spcPct val="114000"/>
              </a:lnSpc>
              <a:spcBef>
                <a:spcPts val="133"/>
              </a:spcBef>
              <a:spcAft>
                <a:spcPts val="800"/>
              </a:spcAft>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a:r>
              <a:rPr lang="en-US" sz="2400" b="1" dirty="0">
                <a:solidFill>
                  <a:schemeClr val="bg1"/>
                </a:solidFill>
              </a:rPr>
              <a:t>Threat Intelligence Centre</a:t>
            </a:r>
          </a:p>
        </p:txBody>
      </p:sp>
    </p:spTree>
    <p:extLst>
      <p:ext uri="{BB962C8B-B14F-4D97-AF65-F5344CB8AC3E}">
        <p14:creationId xmlns:p14="http://schemas.microsoft.com/office/powerpoint/2010/main" val="2702712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2/8 [2]&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3/8 [3]&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4/8 [4]&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5/8 [5]&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6/8 [6]&quot; Source=&quot;Harvey 8&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7/8 [7]&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8/8 [8]&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Check Bg [0]&quot; Source=&quot;Indicators 3&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Check Icon [0]&quot; Source=&quot;Indicators 3&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Warning Bg [1]&quot; Source=&quot;Indicators 3&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Warning Icon [1]&quot; Source=&quot;Indicators 3&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Error Bg [2]&quot; Source=&quot;Indicators 3&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Error Icon [2]&quot; Source=&quot;Indicators 3&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f697e88-5030-49b9-9981-b0575091b189&quot; /&gt;"/>
  <p:tag name="SP_POWERSHAPE" val="&lt;PowerShapeTag ClassVersion=&quot;0&quot; GUID=&quot;60a102d5-ccb6-4b2b-94c1-2ef8fd64a819&quot; IsConsolidated=&quot;False&quot; IsTopLevel=&quot;False&quot; Layer=&quot;Border [0+]&quot; Source=&quot;Check 3&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f697e88-5030-49b9-9981-b0575091b189&quot; /&gt;"/>
  <p:tag name="SP_POWERSHAPE" val="&lt;PowerShapeTag ClassVersion=&quot;0&quot; GUID=&quot;60a102d5-ccb6-4b2b-94c1-2ef8fd64a819&quot; IsConsolidated=&quot;False&quot; IsTopLevel=&quot;False&quot; Layer=&quot;Check [1]&quot; Source=&quot;Check 3&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f697e88-5030-49b9-9981-b0575091b189&quot; /&gt;"/>
  <p:tag name="SP_POWERSHAPE" val="&lt;PowerShapeTag ClassVersion=&quot;0&quot; GUID=&quot;60a102d5-ccb6-4b2b-94c1-2ef8fd64a819&quot; IsConsolidated=&quot;False&quot; IsTopLevel=&quot;False&quot; Layer=&quot;Cross [2]&quot; Source=&quot;Check 3&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0/4 [0]&quot; Source=&quot;Harvey 4&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1/4 [1]&quot; Source=&quot;Harvey 4&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2/4 [2]&quot; Source=&quot;Harvey 4&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3/4 [3]&quot; Source=&quot;Harvey 4&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4/4 [4]&quot; Source=&quot;Harvey 4&quot; /&g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wPS6ETYDsoV_ftBqHLB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13ea37-16ad-4d9f-9dc0-ab58a3d053ee&quot; IsConsolidated=&quot;False&quot; IsTopLevel=&quot;False&quot; Layer=&quot;Harvey 4&quot; Source=&quot;Harvey 4&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f697e88-5030-49b9-9981-b0575091b189&quot; /&gt;"/>
  <p:tag name="SP_POWERSHAPE" val="&lt;PowerShapeTag ClassVersion=&quot;0&quot; GUID=&quot;60a102d5-ccb6-4b2b-94c1-2ef8fd64a819&quot; IsConsolidated=&quot;False&quot; IsTopLevel=&quot;False&quot; Layer=&quot;Check 3&quot; Source=&quot;Check 3&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d378b26-7ba7-42d1-8bdf-a6f7e9294cb0&quot; /&gt;"/>
  <p:tag name="SP_POWERSHAPE" val="&lt;PowerShapeTag ClassVersion=&quot;0&quot; GUID=&quot;91da644c-b9a2-43c4-bae8-b7e150e50792&quot; IsConsolidated=&quot;False&quot; IsTopLevel=&quot;False&quot; Layer=&quot;Indicators 3&quot; Source=&quot;Indicators 3&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8&quot; Source=&quot;Harvey 8&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0/8 [0]&quot; Source=&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9494939-88c2-453e-9081-441914a7cb1d&quot; IsConsolidated=&quot;False&quot; IsTopLevel=&quot;False&quot; Layer=&quot;Harvey 1/8 [1]&quot; Source=&quot;Harvey 8&quot; /&gt;"/>
</p:tagLst>
</file>

<file path=ppt/theme/theme1.xml><?xml version="1.0" encoding="utf-8"?>
<a:theme xmlns:a="http://schemas.openxmlformats.org/drawingml/2006/main" name="DD_master_page">
  <a:themeElements>
    <a:clrScheme name="Custom 7">
      <a:dk1>
        <a:srgbClr val="000000"/>
      </a:dk1>
      <a:lt1>
        <a:srgbClr val="FFFFFF"/>
      </a:lt1>
      <a:dk2>
        <a:srgbClr val="ACAAA8"/>
      </a:dk2>
      <a:lt2>
        <a:srgbClr val="656E71"/>
      </a:lt2>
      <a:accent1>
        <a:srgbClr val="69BE28"/>
      </a:accent1>
      <a:accent2>
        <a:srgbClr val="FF3300"/>
      </a:accent2>
      <a:accent3>
        <a:srgbClr val="FFB300"/>
      </a:accent3>
      <a:accent4>
        <a:srgbClr val="26CCFF"/>
      </a:accent4>
      <a:accent5>
        <a:srgbClr val="9ECE69"/>
      </a:accent5>
      <a:accent6>
        <a:srgbClr val="F58049"/>
      </a:accent6>
      <a:hlink>
        <a:srgbClr val="FFC859"/>
      </a:hlink>
      <a:folHlink>
        <a:srgbClr val="04ACE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2.xml><?xml version="1.0" encoding="utf-8"?>
<a:theme xmlns:a="http://schemas.openxmlformats.org/drawingml/2006/main" name="1_DD_master_page">
  <a:themeElements>
    <a:clrScheme name="Custom 28">
      <a:dk1>
        <a:srgbClr val="455565"/>
      </a:dk1>
      <a:lt1>
        <a:sysClr val="window" lastClr="FFFFFF"/>
      </a:lt1>
      <a:dk2>
        <a:srgbClr val="A2AAB2"/>
      </a:dk2>
      <a:lt2>
        <a:srgbClr val="656E71"/>
      </a:lt2>
      <a:accent1>
        <a:srgbClr val="69BE28"/>
      </a:accent1>
      <a:accent2>
        <a:srgbClr val="82DC3C"/>
      </a:accent2>
      <a:accent3>
        <a:srgbClr val="00B3A0"/>
      </a:accent3>
      <a:accent4>
        <a:srgbClr val="189BA9"/>
      </a:accent4>
      <a:accent5>
        <a:srgbClr val="437DB2"/>
      </a:accent5>
      <a:accent6>
        <a:srgbClr val="27AAE1"/>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3.xml><?xml version="1.0" encoding="utf-8"?>
<a:theme xmlns:a="http://schemas.openxmlformats.org/drawingml/2006/main" name="4_DD_master_page">
  <a:themeElements>
    <a:clrScheme name="Custom 28">
      <a:dk1>
        <a:srgbClr val="455565"/>
      </a:dk1>
      <a:lt1>
        <a:sysClr val="window" lastClr="FFFFFF"/>
      </a:lt1>
      <a:dk2>
        <a:srgbClr val="A2AAB2"/>
      </a:dk2>
      <a:lt2>
        <a:srgbClr val="656E71"/>
      </a:lt2>
      <a:accent1>
        <a:srgbClr val="69BE28"/>
      </a:accent1>
      <a:accent2>
        <a:srgbClr val="82DC3C"/>
      </a:accent2>
      <a:accent3>
        <a:srgbClr val="00B3A0"/>
      </a:accent3>
      <a:accent4>
        <a:srgbClr val="189BA9"/>
      </a:accent4>
      <a:accent5>
        <a:srgbClr val="437DB2"/>
      </a:accent5>
      <a:accent6>
        <a:srgbClr val="27AAE1"/>
      </a:accent6>
      <a:hlink>
        <a:srgbClr val="0784C1"/>
      </a:hlink>
      <a:folHlink>
        <a:srgbClr val="0784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4.xml><?xml version="1.0" encoding="utf-8"?>
<a:theme xmlns:a="http://schemas.openxmlformats.org/drawingml/2006/main" name="5_DD_master_page">
  <a:themeElements>
    <a:clrScheme name="Custom 7">
      <a:dk1>
        <a:srgbClr val="000000"/>
      </a:dk1>
      <a:lt1>
        <a:srgbClr val="FFFFFF"/>
      </a:lt1>
      <a:dk2>
        <a:srgbClr val="ACAAA8"/>
      </a:dk2>
      <a:lt2>
        <a:srgbClr val="656E71"/>
      </a:lt2>
      <a:accent1>
        <a:srgbClr val="69BE28"/>
      </a:accent1>
      <a:accent2>
        <a:srgbClr val="FF3300"/>
      </a:accent2>
      <a:accent3>
        <a:srgbClr val="FFB300"/>
      </a:accent3>
      <a:accent4>
        <a:srgbClr val="26CCFF"/>
      </a:accent4>
      <a:accent5>
        <a:srgbClr val="9ECE69"/>
      </a:accent5>
      <a:accent6>
        <a:srgbClr val="F58049"/>
      </a:accent6>
      <a:hlink>
        <a:srgbClr val="FFC859"/>
      </a:hlink>
      <a:folHlink>
        <a:srgbClr val="04ACE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effectLst/>
      </a:spPr>
      <a:bodyPr lIns="36000" tIns="36000" rIns="36000" bIns="36000" anchor="ctr"/>
      <a:lstStyle>
        <a:defPPr algn="ctr" fontAlgn="auto">
          <a:lnSpc>
            <a:spcPct val="110000"/>
          </a:lnSpc>
          <a:spcBef>
            <a:spcPts val="200"/>
          </a:spcBef>
          <a:spcAft>
            <a:spcPts val="2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Guidelines_26 02 2014_v4" id="{0BC10357-EC50-4911-A748-C21717FBD21B}" vid="{E9D06FB4-3EBD-4EE0-910D-62CBDA6F397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D_Generic_refreshed_template_18.02.2015_16.9.thmx</Template>
  <TotalTime>16517</TotalTime>
  <Words>869</Words>
  <Application>Microsoft Office PowerPoint</Application>
  <PresentationFormat>On-screen Show (16:9)</PresentationFormat>
  <Paragraphs>119</Paragraphs>
  <Slides>10</Slides>
  <Notes>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Georgia</vt:lpstr>
      <vt:lpstr>Montserrat</vt:lpstr>
      <vt:lpstr>Segoe UI</vt:lpstr>
      <vt:lpstr>Source Sans Pro</vt:lpstr>
      <vt:lpstr>DD_master_page</vt:lpstr>
      <vt:lpstr>1_DD_master_page</vt:lpstr>
      <vt:lpstr>4_DD_master_page</vt:lpstr>
      <vt:lpstr>5_DD_master_pag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Mind Shift - Designing for Failur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neVANLoggerenberg</dc:creator>
  <cp:lastModifiedBy>Dr. Shem Ouma</cp:lastModifiedBy>
  <cp:revision>216</cp:revision>
  <dcterms:created xsi:type="dcterms:W3CDTF">2016-02-15T09:11:15Z</dcterms:created>
  <dcterms:modified xsi:type="dcterms:W3CDTF">2025-12-02T14:17:52Z</dcterms:modified>
</cp:coreProperties>
</file>